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07" r:id="rId2"/>
    <p:sldMasterId id="2147483714" r:id="rId3"/>
    <p:sldMasterId id="2147483723" r:id="rId4"/>
  </p:sldMasterIdLst>
  <p:notesMasterIdLst>
    <p:notesMasterId r:id="rId39"/>
  </p:notesMasterIdLst>
  <p:sldIdLst>
    <p:sldId id="256" r:id="rId5"/>
    <p:sldId id="2078558259" r:id="rId6"/>
    <p:sldId id="2078558261" r:id="rId7"/>
    <p:sldId id="2078558307" r:id="rId8"/>
    <p:sldId id="1607" r:id="rId9"/>
    <p:sldId id="2078558260" r:id="rId10"/>
    <p:sldId id="2078558268" r:id="rId11"/>
    <p:sldId id="2078558292" r:id="rId12"/>
    <p:sldId id="2078558278" r:id="rId13"/>
    <p:sldId id="2078558312" r:id="rId14"/>
    <p:sldId id="2078558313" r:id="rId15"/>
    <p:sldId id="2078558311" r:id="rId16"/>
    <p:sldId id="2078558275" r:id="rId17"/>
    <p:sldId id="2078558276" r:id="rId18"/>
    <p:sldId id="2078558269" r:id="rId19"/>
    <p:sldId id="2078558294" r:id="rId20"/>
    <p:sldId id="2078558279" r:id="rId21"/>
    <p:sldId id="2078558280" r:id="rId22"/>
    <p:sldId id="2078558295" r:id="rId23"/>
    <p:sldId id="2078558281" r:id="rId24"/>
    <p:sldId id="2078558293" r:id="rId25"/>
    <p:sldId id="2078558282" r:id="rId26"/>
    <p:sldId id="2078558308" r:id="rId27"/>
    <p:sldId id="2078558309" r:id="rId28"/>
    <p:sldId id="2078558310" r:id="rId29"/>
    <p:sldId id="2078558300" r:id="rId30"/>
    <p:sldId id="2078558302" r:id="rId31"/>
    <p:sldId id="2078558301" r:id="rId32"/>
    <p:sldId id="2078558296" r:id="rId33"/>
    <p:sldId id="2078558297" r:id="rId34"/>
    <p:sldId id="2078558299" r:id="rId35"/>
    <p:sldId id="2078558306" r:id="rId36"/>
    <p:sldId id="2078558290" r:id="rId37"/>
    <p:sldId id="271" r:id="rId38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B6E03"/>
    <a:srgbClr val="ED7703"/>
    <a:srgbClr val="FFFFFF"/>
    <a:srgbClr val="F8E2CD"/>
    <a:srgbClr val="EDB781"/>
    <a:srgbClr val="FEF7EE"/>
    <a:srgbClr val="EE74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1584F2-F657-4D85-94E3-B599E8A4F4EB}" v="176" dt="2022-05-17T19:00:54.99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84" autoAdjust="0"/>
    <p:restoredTop sz="93792" autoAdjust="0"/>
  </p:normalViewPr>
  <p:slideViewPr>
    <p:cSldViewPr snapToGrid="0" snapToObjects="1">
      <p:cViewPr varScale="1">
        <p:scale>
          <a:sx n="110" d="100"/>
          <a:sy n="110" d="100"/>
        </p:scale>
        <p:origin x="63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630125-001\Desktop\Kommunuppdraget\Dala%20Energi\Kopia%20av%20diagram%20kommune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630125-001\Desktop\Kommunuppdraget\Dala%20Energi\Kopia%20av%20diagram%20kommuner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630125-001\Desktop\Kommunuppdraget\Dala%20Energi\Kopia%20av%20diagram%20kommuner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630125-001\Desktop\Kommunuppdraget\Dala%20Energi\Kopia%20av%20diagram%20kommuner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630125-001\Desktop\Kommunuppdraget\Borl&#228;nge\Kopia%20av%20Timv&#228;rden%20kommunala%20fastigheter%202021-09-01-2022-09-01_summering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630125-001\Desktop\Kommunuppdraget\Hedemora%20energi\Kopia%20av%20Kommunala%20bolag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v-SE"/>
              <a:t>Januar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Leksand!$E$242:$E$265</c:f>
              <c:numCache>
                <c:formatCode>#,##0</c:formatCode>
                <c:ptCount val="24"/>
                <c:pt idx="0">
                  <c:v>438.96199999999999</c:v>
                </c:pt>
                <c:pt idx="1">
                  <c:v>435.37900000000002</c:v>
                </c:pt>
                <c:pt idx="2">
                  <c:v>435.262</c:v>
                </c:pt>
                <c:pt idx="3">
                  <c:v>436.96600000000001</c:v>
                </c:pt>
                <c:pt idx="4">
                  <c:v>448.7</c:v>
                </c:pt>
                <c:pt idx="5">
                  <c:v>517.96100000000001</c:v>
                </c:pt>
                <c:pt idx="6">
                  <c:v>789.64099999999996</c:v>
                </c:pt>
                <c:pt idx="7">
                  <c:v>922.51700000000005</c:v>
                </c:pt>
                <c:pt idx="8">
                  <c:v>1029.925</c:v>
                </c:pt>
                <c:pt idx="9">
                  <c:v>1075.7429999999999</c:v>
                </c:pt>
                <c:pt idx="10">
                  <c:v>1052.6949999999999</c:v>
                </c:pt>
                <c:pt idx="11">
                  <c:v>1047.6110000000001</c:v>
                </c:pt>
                <c:pt idx="12">
                  <c:v>1100.231</c:v>
                </c:pt>
                <c:pt idx="13">
                  <c:v>1041.2249999999999</c:v>
                </c:pt>
                <c:pt idx="14">
                  <c:v>982.22199999999998</c:v>
                </c:pt>
                <c:pt idx="15">
                  <c:v>906.29300000000001</c:v>
                </c:pt>
                <c:pt idx="16">
                  <c:v>795.13400000000001</c:v>
                </c:pt>
                <c:pt idx="17">
                  <c:v>645.173</c:v>
                </c:pt>
                <c:pt idx="18">
                  <c:v>533.024</c:v>
                </c:pt>
                <c:pt idx="19">
                  <c:v>490.738</c:v>
                </c:pt>
                <c:pt idx="20">
                  <c:v>487.49799999999999</c:v>
                </c:pt>
                <c:pt idx="21">
                  <c:v>445.06200000000001</c:v>
                </c:pt>
                <c:pt idx="22">
                  <c:v>425.4</c:v>
                </c:pt>
                <c:pt idx="23">
                  <c:v>412.831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0F-4964-B3FB-8C6731E9E6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00066864"/>
        <c:axId val="400064240"/>
      </c:barChart>
      <c:catAx>
        <c:axId val="400066864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400064240"/>
        <c:crosses val="autoZero"/>
        <c:auto val="1"/>
        <c:lblAlgn val="ctr"/>
        <c:lblOffset val="100"/>
        <c:noMultiLvlLbl val="0"/>
      </c:catAx>
      <c:valAx>
        <c:axId val="4000642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4000668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v-SE"/>
              <a:t>Januar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Gagnef!$E$242:$E$265</c:f>
              <c:numCache>
                <c:formatCode>#,##0</c:formatCode>
                <c:ptCount val="24"/>
                <c:pt idx="0">
                  <c:v>588.37099999999998</c:v>
                </c:pt>
                <c:pt idx="1">
                  <c:v>587.90599999999995</c:v>
                </c:pt>
                <c:pt idx="2">
                  <c:v>577.71699999999998</c:v>
                </c:pt>
                <c:pt idx="3">
                  <c:v>588.01499999999999</c:v>
                </c:pt>
                <c:pt idx="4">
                  <c:v>606.88099999999997</c:v>
                </c:pt>
                <c:pt idx="5">
                  <c:v>704.87699999999995</c:v>
                </c:pt>
                <c:pt idx="6">
                  <c:v>917.10799999999995</c:v>
                </c:pt>
                <c:pt idx="7">
                  <c:v>1130.079</c:v>
                </c:pt>
                <c:pt idx="8">
                  <c:v>1196.78</c:v>
                </c:pt>
                <c:pt idx="9">
                  <c:v>1208.24</c:v>
                </c:pt>
                <c:pt idx="10">
                  <c:v>1241.672</c:v>
                </c:pt>
                <c:pt idx="11">
                  <c:v>1269.384</c:v>
                </c:pt>
                <c:pt idx="12">
                  <c:v>1184.3889999999999</c:v>
                </c:pt>
                <c:pt idx="13">
                  <c:v>1131.298</c:v>
                </c:pt>
                <c:pt idx="14">
                  <c:v>1103.29</c:v>
                </c:pt>
                <c:pt idx="15">
                  <c:v>1055.25</c:v>
                </c:pt>
                <c:pt idx="16">
                  <c:v>936.80600000000004</c:v>
                </c:pt>
                <c:pt idx="17">
                  <c:v>800.54200000000003</c:v>
                </c:pt>
                <c:pt idx="18">
                  <c:v>714.52300000000002</c:v>
                </c:pt>
                <c:pt idx="19">
                  <c:v>684.303</c:v>
                </c:pt>
                <c:pt idx="20">
                  <c:v>668.947</c:v>
                </c:pt>
                <c:pt idx="21">
                  <c:v>623.63</c:v>
                </c:pt>
                <c:pt idx="22">
                  <c:v>563.17100000000005</c:v>
                </c:pt>
                <c:pt idx="23">
                  <c:v>548.298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D6-47C2-8FD9-8AA0E93387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58314360"/>
        <c:axId val="758312392"/>
      </c:barChart>
      <c:catAx>
        <c:axId val="75831436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58312392"/>
        <c:crosses val="autoZero"/>
        <c:auto val="1"/>
        <c:lblAlgn val="ctr"/>
        <c:lblOffset val="100"/>
        <c:noMultiLvlLbl val="0"/>
      </c:catAx>
      <c:valAx>
        <c:axId val="7583123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583143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v-SE"/>
              <a:t>Februari</a:t>
            </a:r>
          </a:p>
        </c:rich>
      </c:tx>
      <c:layout>
        <c:manualLayout>
          <c:xMode val="edge"/>
          <c:yMode val="edge"/>
          <c:x val="0.42269444444444454"/>
          <c:y val="4.629629629629629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Rättvik!$E$1082:$E$1105</c:f>
              <c:numCache>
                <c:formatCode>#,##0</c:formatCode>
                <c:ptCount val="24"/>
                <c:pt idx="0">
                  <c:v>88.325000000000003</c:v>
                </c:pt>
                <c:pt idx="1">
                  <c:v>91.77</c:v>
                </c:pt>
                <c:pt idx="2">
                  <c:v>92.963999999999999</c:v>
                </c:pt>
                <c:pt idx="3">
                  <c:v>93.998999999999995</c:v>
                </c:pt>
                <c:pt idx="4">
                  <c:v>96.454999999999998</c:v>
                </c:pt>
                <c:pt idx="5">
                  <c:v>100.149</c:v>
                </c:pt>
                <c:pt idx="6">
                  <c:v>109.696</c:v>
                </c:pt>
                <c:pt idx="7">
                  <c:v>108.56699999999999</c:v>
                </c:pt>
                <c:pt idx="8">
                  <c:v>102.125</c:v>
                </c:pt>
                <c:pt idx="9">
                  <c:v>108.872</c:v>
                </c:pt>
                <c:pt idx="10">
                  <c:v>96.004999999999995</c:v>
                </c:pt>
                <c:pt idx="11">
                  <c:v>99.762</c:v>
                </c:pt>
                <c:pt idx="12">
                  <c:v>98.209000000000003</c:v>
                </c:pt>
                <c:pt idx="13">
                  <c:v>100.515</c:v>
                </c:pt>
                <c:pt idx="14">
                  <c:v>105.70099999999999</c:v>
                </c:pt>
                <c:pt idx="15">
                  <c:v>107.152</c:v>
                </c:pt>
                <c:pt idx="16">
                  <c:v>102.054</c:v>
                </c:pt>
                <c:pt idx="17">
                  <c:v>112.718</c:v>
                </c:pt>
                <c:pt idx="18">
                  <c:v>113.598</c:v>
                </c:pt>
                <c:pt idx="19">
                  <c:v>111.919</c:v>
                </c:pt>
                <c:pt idx="20">
                  <c:v>114.002</c:v>
                </c:pt>
                <c:pt idx="21">
                  <c:v>117.11</c:v>
                </c:pt>
                <c:pt idx="22">
                  <c:v>114.324</c:v>
                </c:pt>
                <c:pt idx="23">
                  <c:v>114.5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F7-4EA3-9A96-FC3EDD286F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11939472"/>
        <c:axId val="911938816"/>
      </c:barChart>
      <c:catAx>
        <c:axId val="911939472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911938816"/>
        <c:crosses val="autoZero"/>
        <c:auto val="1"/>
        <c:lblAlgn val="ctr"/>
        <c:lblOffset val="100"/>
        <c:noMultiLvlLbl val="0"/>
      </c:catAx>
      <c:valAx>
        <c:axId val="91193881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911939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v-SE"/>
              <a:t>Januari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Säter!$E$242:$E$265</c:f>
              <c:numCache>
                <c:formatCode>#,##0</c:formatCode>
                <c:ptCount val="24"/>
                <c:pt idx="0">
                  <c:v>705.77300000000002</c:v>
                </c:pt>
                <c:pt idx="1">
                  <c:v>668.02099999999996</c:v>
                </c:pt>
                <c:pt idx="2">
                  <c:v>668.55899999999997</c:v>
                </c:pt>
                <c:pt idx="3">
                  <c:v>681.04</c:v>
                </c:pt>
                <c:pt idx="4">
                  <c:v>680.101</c:v>
                </c:pt>
                <c:pt idx="5">
                  <c:v>737.01300000000003</c:v>
                </c:pt>
                <c:pt idx="6">
                  <c:v>967.37599999999998</c:v>
                </c:pt>
                <c:pt idx="7">
                  <c:v>1139.5840000000001</c:v>
                </c:pt>
                <c:pt idx="8">
                  <c:v>1162.4929999999999</c:v>
                </c:pt>
                <c:pt idx="9">
                  <c:v>1222.248</c:v>
                </c:pt>
                <c:pt idx="10">
                  <c:v>1227.568</c:v>
                </c:pt>
                <c:pt idx="11">
                  <c:v>1207.4970000000001</c:v>
                </c:pt>
                <c:pt idx="12">
                  <c:v>1150.02</c:v>
                </c:pt>
                <c:pt idx="13">
                  <c:v>1105.701</c:v>
                </c:pt>
                <c:pt idx="14">
                  <c:v>1067.1590000000001</c:v>
                </c:pt>
                <c:pt idx="15">
                  <c:v>973.27499999999998</c:v>
                </c:pt>
                <c:pt idx="16">
                  <c:v>895.79399999999998</c:v>
                </c:pt>
                <c:pt idx="17">
                  <c:v>789.21699999999998</c:v>
                </c:pt>
                <c:pt idx="18">
                  <c:v>715.77800000000002</c:v>
                </c:pt>
                <c:pt idx="19">
                  <c:v>719.31100000000004</c:v>
                </c:pt>
                <c:pt idx="20">
                  <c:v>700.79200000000003</c:v>
                </c:pt>
                <c:pt idx="21">
                  <c:v>690.97199999999998</c:v>
                </c:pt>
                <c:pt idx="22">
                  <c:v>652.39099999999996</c:v>
                </c:pt>
                <c:pt idx="23">
                  <c:v>651.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54-4E4D-BF61-41DA1E7889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66795504"/>
        <c:axId val="966796160"/>
      </c:barChart>
      <c:catAx>
        <c:axId val="966795504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966796160"/>
        <c:crosses val="autoZero"/>
        <c:auto val="1"/>
        <c:lblAlgn val="ctr"/>
        <c:lblOffset val="100"/>
        <c:noMultiLvlLbl val="0"/>
      </c:catAx>
      <c:valAx>
        <c:axId val="9667961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966795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Summa timvärden'!$E$3:$E$26</c:f>
              <c:strCache>
                <c:ptCount val="24"/>
                <c:pt idx="0">
                  <c:v>00</c:v>
                </c:pt>
                <c:pt idx="1">
                  <c:v>01</c:v>
                </c:pt>
                <c:pt idx="2">
                  <c:v>02</c:v>
                </c:pt>
                <c:pt idx="3">
                  <c:v>03</c:v>
                </c:pt>
                <c:pt idx="4">
                  <c:v>04</c:v>
                </c:pt>
                <c:pt idx="5">
                  <c:v>05</c:v>
                </c:pt>
                <c:pt idx="6">
                  <c:v>06</c:v>
                </c:pt>
                <c:pt idx="7">
                  <c:v>07</c:v>
                </c:pt>
                <c:pt idx="8">
                  <c:v>08</c:v>
                </c:pt>
                <c:pt idx="9">
                  <c:v>0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</c:strCache>
            </c:strRef>
          </c:cat>
          <c:val>
            <c:numRef>
              <c:f>'Summa timvärden'!$F$3:$F$26</c:f>
              <c:numCache>
                <c:formatCode>General</c:formatCode>
                <c:ptCount val="24"/>
                <c:pt idx="0">
                  <c:v>251244.58499999985</c:v>
                </c:pt>
                <c:pt idx="1">
                  <c:v>247626.0049999998</c:v>
                </c:pt>
                <c:pt idx="2">
                  <c:v>245656.54000000007</c:v>
                </c:pt>
                <c:pt idx="3">
                  <c:v>253812.16500000007</c:v>
                </c:pt>
                <c:pt idx="4">
                  <c:v>278179.9980000002</c:v>
                </c:pt>
                <c:pt idx="5">
                  <c:v>319110.83200000005</c:v>
                </c:pt>
                <c:pt idx="6">
                  <c:v>380545.38800000027</c:v>
                </c:pt>
                <c:pt idx="7">
                  <c:v>432036.67300000013</c:v>
                </c:pt>
                <c:pt idx="8">
                  <c:v>463948.53100000013</c:v>
                </c:pt>
                <c:pt idx="9">
                  <c:v>483432.08699999988</c:v>
                </c:pt>
                <c:pt idx="10">
                  <c:v>492729.46199999994</c:v>
                </c:pt>
                <c:pt idx="11">
                  <c:v>489069.37500000029</c:v>
                </c:pt>
                <c:pt idx="12">
                  <c:v>479485.58800000005</c:v>
                </c:pt>
                <c:pt idx="13">
                  <c:v>472058.95399999974</c:v>
                </c:pt>
                <c:pt idx="14">
                  <c:v>460726.66999999952</c:v>
                </c:pt>
                <c:pt idx="15">
                  <c:v>442058.65700000012</c:v>
                </c:pt>
                <c:pt idx="16">
                  <c:v>410394.06100000034</c:v>
                </c:pt>
                <c:pt idx="17">
                  <c:v>383147.37399999995</c:v>
                </c:pt>
                <c:pt idx="18">
                  <c:v>352116.4720000003</c:v>
                </c:pt>
                <c:pt idx="19">
                  <c:v>331656.99399999966</c:v>
                </c:pt>
                <c:pt idx="20">
                  <c:v>310429.94600000017</c:v>
                </c:pt>
                <c:pt idx="21">
                  <c:v>286394.48399999982</c:v>
                </c:pt>
                <c:pt idx="22">
                  <c:v>267068.74499999988</c:v>
                </c:pt>
                <c:pt idx="23">
                  <c:v>256459.83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26-4AF6-BD7A-399F4C9A9B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35383576"/>
        <c:axId val="735375376"/>
      </c:barChart>
      <c:catAx>
        <c:axId val="735383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35375376"/>
        <c:crosses val="autoZero"/>
        <c:auto val="1"/>
        <c:lblAlgn val="ctr"/>
        <c:lblOffset val="100"/>
        <c:noMultiLvlLbl val="0"/>
      </c:catAx>
      <c:valAx>
        <c:axId val="7353753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35383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v-SE"/>
              <a:t>Tidpunkt</a:t>
            </a:r>
            <a:r>
              <a:rPr lang="sv-SE" baseline="0"/>
              <a:t> för höglasttimmar</a:t>
            </a:r>
            <a:endParaRPr lang="sv-S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18:$DA$6618</c:f>
            </c:numRef>
          </c:val>
          <c:extLst>
            <c:ext xmlns:c16="http://schemas.microsoft.com/office/drawing/2014/chart" uri="{C3380CC4-5D6E-409C-BE32-E72D297353CC}">
              <c16:uniqueId val="{00000000-449D-415F-8883-3BF15928C45D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19:$DA$6619</c:f>
            </c:numRef>
          </c:val>
          <c:extLst>
            <c:ext xmlns:c16="http://schemas.microsoft.com/office/drawing/2014/chart" uri="{C3380CC4-5D6E-409C-BE32-E72D297353CC}">
              <c16:uniqueId val="{00000001-449D-415F-8883-3BF15928C45D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20:$DA$6620</c:f>
            </c:numRef>
          </c:val>
          <c:extLst>
            <c:ext xmlns:c16="http://schemas.microsoft.com/office/drawing/2014/chart" uri="{C3380CC4-5D6E-409C-BE32-E72D297353CC}">
              <c16:uniqueId val="{00000002-449D-415F-8883-3BF15928C45D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21:$DA$6621</c:f>
            </c:numRef>
          </c:val>
          <c:extLst>
            <c:ext xmlns:c16="http://schemas.microsoft.com/office/drawing/2014/chart" uri="{C3380CC4-5D6E-409C-BE32-E72D297353CC}">
              <c16:uniqueId val="{00000003-449D-415F-8883-3BF15928C45D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22:$DA$6622</c:f>
            </c:numRef>
          </c:val>
          <c:extLst>
            <c:ext xmlns:c16="http://schemas.microsoft.com/office/drawing/2014/chart" uri="{C3380CC4-5D6E-409C-BE32-E72D297353CC}">
              <c16:uniqueId val="{00000004-449D-415F-8883-3BF15928C45D}"/>
            </c:ext>
          </c:extLst>
        </c:ser>
        <c:ser>
          <c:idx val="5"/>
          <c:order val="5"/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23:$DA$6623</c:f>
            </c:numRef>
          </c:val>
          <c:extLst>
            <c:ext xmlns:c16="http://schemas.microsoft.com/office/drawing/2014/chart" uri="{C3380CC4-5D6E-409C-BE32-E72D297353CC}">
              <c16:uniqueId val="{00000005-449D-415F-8883-3BF15928C45D}"/>
            </c:ext>
          </c:extLst>
        </c:ser>
        <c:ser>
          <c:idx val="6"/>
          <c:order val="6"/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24:$DA$6624</c:f>
            </c:numRef>
          </c:val>
          <c:extLst>
            <c:ext xmlns:c16="http://schemas.microsoft.com/office/drawing/2014/chart" uri="{C3380CC4-5D6E-409C-BE32-E72D297353CC}">
              <c16:uniqueId val="{00000006-449D-415F-8883-3BF15928C45D}"/>
            </c:ext>
          </c:extLst>
        </c:ser>
        <c:ser>
          <c:idx val="7"/>
          <c:order val="7"/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25:$DA$6625</c:f>
            </c:numRef>
          </c:val>
          <c:extLst>
            <c:ext xmlns:c16="http://schemas.microsoft.com/office/drawing/2014/chart" uri="{C3380CC4-5D6E-409C-BE32-E72D297353CC}">
              <c16:uniqueId val="{00000007-449D-415F-8883-3BF15928C45D}"/>
            </c:ext>
          </c:extLst>
        </c:ser>
        <c:ser>
          <c:idx val="8"/>
          <c:order val="8"/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26:$DA$6626</c:f>
            </c:numRef>
          </c:val>
          <c:extLst>
            <c:ext xmlns:c16="http://schemas.microsoft.com/office/drawing/2014/chart" uri="{C3380CC4-5D6E-409C-BE32-E72D297353CC}">
              <c16:uniqueId val="{00000008-449D-415F-8883-3BF15928C45D}"/>
            </c:ext>
          </c:extLst>
        </c:ser>
        <c:ser>
          <c:idx val="9"/>
          <c:order val="9"/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27:$DA$6627</c:f>
            </c:numRef>
          </c:val>
          <c:extLst>
            <c:ext xmlns:c16="http://schemas.microsoft.com/office/drawing/2014/chart" uri="{C3380CC4-5D6E-409C-BE32-E72D297353CC}">
              <c16:uniqueId val="{00000009-449D-415F-8883-3BF15928C45D}"/>
            </c:ext>
          </c:extLst>
        </c:ser>
        <c:ser>
          <c:idx val="10"/>
          <c:order val="10"/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28:$DA$6628</c:f>
            </c:numRef>
          </c:val>
          <c:extLst>
            <c:ext xmlns:c16="http://schemas.microsoft.com/office/drawing/2014/chart" uri="{C3380CC4-5D6E-409C-BE32-E72D297353CC}">
              <c16:uniqueId val="{0000000A-449D-415F-8883-3BF15928C45D}"/>
            </c:ext>
          </c:extLst>
        </c:ser>
        <c:ser>
          <c:idx val="11"/>
          <c:order val="11"/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29:$DA$6629</c:f>
            </c:numRef>
          </c:val>
          <c:extLst>
            <c:ext xmlns:c16="http://schemas.microsoft.com/office/drawing/2014/chart" uri="{C3380CC4-5D6E-409C-BE32-E72D297353CC}">
              <c16:uniqueId val="{0000000B-449D-415F-8883-3BF15928C45D}"/>
            </c:ext>
          </c:extLst>
        </c:ser>
        <c:ser>
          <c:idx val="12"/>
          <c:order val="12"/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30:$DA$6630</c:f>
            </c:numRef>
          </c:val>
          <c:extLst>
            <c:ext xmlns:c16="http://schemas.microsoft.com/office/drawing/2014/chart" uri="{C3380CC4-5D6E-409C-BE32-E72D297353CC}">
              <c16:uniqueId val="{0000000C-449D-415F-8883-3BF15928C45D}"/>
            </c:ext>
          </c:extLst>
        </c:ser>
        <c:ser>
          <c:idx val="13"/>
          <c:order val="13"/>
          <c:spPr>
            <a:solidFill>
              <a:schemeClr val="accent2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31:$DA$6631</c:f>
            </c:numRef>
          </c:val>
          <c:extLst>
            <c:ext xmlns:c16="http://schemas.microsoft.com/office/drawing/2014/chart" uri="{C3380CC4-5D6E-409C-BE32-E72D297353CC}">
              <c16:uniqueId val="{0000000D-449D-415F-8883-3BF15928C45D}"/>
            </c:ext>
          </c:extLst>
        </c:ser>
        <c:ser>
          <c:idx val="14"/>
          <c:order val="14"/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32:$DA$6632</c:f>
            </c:numRef>
          </c:val>
          <c:extLst>
            <c:ext xmlns:c16="http://schemas.microsoft.com/office/drawing/2014/chart" uri="{C3380CC4-5D6E-409C-BE32-E72D297353CC}">
              <c16:uniqueId val="{0000000E-449D-415F-8883-3BF15928C45D}"/>
            </c:ext>
          </c:extLst>
        </c:ser>
        <c:ser>
          <c:idx val="15"/>
          <c:order val="15"/>
          <c:spPr>
            <a:solidFill>
              <a:schemeClr val="accent4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33:$DA$6633</c:f>
            </c:numRef>
          </c:val>
          <c:extLst>
            <c:ext xmlns:c16="http://schemas.microsoft.com/office/drawing/2014/chart" uri="{C3380CC4-5D6E-409C-BE32-E72D297353CC}">
              <c16:uniqueId val="{0000000F-449D-415F-8883-3BF15928C45D}"/>
            </c:ext>
          </c:extLst>
        </c:ser>
        <c:ser>
          <c:idx val="16"/>
          <c:order val="16"/>
          <c:spPr>
            <a:solidFill>
              <a:schemeClr val="accent5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34:$DA$6634</c:f>
            </c:numRef>
          </c:val>
          <c:extLst>
            <c:ext xmlns:c16="http://schemas.microsoft.com/office/drawing/2014/chart" uri="{C3380CC4-5D6E-409C-BE32-E72D297353CC}">
              <c16:uniqueId val="{00000010-449D-415F-8883-3BF15928C45D}"/>
            </c:ext>
          </c:extLst>
        </c:ser>
        <c:ser>
          <c:idx val="17"/>
          <c:order val="17"/>
          <c:spPr>
            <a:solidFill>
              <a:schemeClr val="accent6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35:$DA$6635</c:f>
            </c:numRef>
          </c:val>
          <c:extLst>
            <c:ext xmlns:c16="http://schemas.microsoft.com/office/drawing/2014/chart" uri="{C3380CC4-5D6E-409C-BE32-E72D297353CC}">
              <c16:uniqueId val="{00000011-449D-415F-8883-3BF15928C45D}"/>
            </c:ext>
          </c:extLst>
        </c:ser>
        <c:ser>
          <c:idx val="18"/>
          <c:order val="18"/>
          <c:spPr>
            <a:solidFill>
              <a:schemeClr val="accent1">
                <a:lumMod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36:$DA$6636</c:f>
            </c:numRef>
          </c:val>
          <c:extLst>
            <c:ext xmlns:c16="http://schemas.microsoft.com/office/drawing/2014/chart" uri="{C3380CC4-5D6E-409C-BE32-E72D297353CC}">
              <c16:uniqueId val="{00000012-449D-415F-8883-3BF15928C45D}"/>
            </c:ext>
          </c:extLst>
        </c:ser>
        <c:ser>
          <c:idx val="19"/>
          <c:order val="19"/>
          <c:spPr>
            <a:solidFill>
              <a:schemeClr val="accent2">
                <a:lumMod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37:$DA$6637</c:f>
            </c:numRef>
          </c:val>
          <c:extLst>
            <c:ext xmlns:c16="http://schemas.microsoft.com/office/drawing/2014/chart" uri="{C3380CC4-5D6E-409C-BE32-E72D297353CC}">
              <c16:uniqueId val="{00000013-449D-415F-8883-3BF15928C45D}"/>
            </c:ext>
          </c:extLst>
        </c:ser>
        <c:ser>
          <c:idx val="20"/>
          <c:order val="20"/>
          <c:spPr>
            <a:solidFill>
              <a:schemeClr val="accent3">
                <a:lumMod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38:$DA$6638</c:f>
            </c:numRef>
          </c:val>
          <c:extLst>
            <c:ext xmlns:c16="http://schemas.microsoft.com/office/drawing/2014/chart" uri="{C3380CC4-5D6E-409C-BE32-E72D297353CC}">
              <c16:uniqueId val="{00000014-449D-415F-8883-3BF15928C45D}"/>
            </c:ext>
          </c:extLst>
        </c:ser>
        <c:ser>
          <c:idx val="21"/>
          <c:order val="21"/>
          <c:spPr>
            <a:solidFill>
              <a:schemeClr val="accent4">
                <a:lumMod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39:$DA$6639</c:f>
            </c:numRef>
          </c:val>
          <c:extLst>
            <c:ext xmlns:c16="http://schemas.microsoft.com/office/drawing/2014/chart" uri="{C3380CC4-5D6E-409C-BE32-E72D297353CC}">
              <c16:uniqueId val="{00000015-449D-415F-8883-3BF15928C45D}"/>
            </c:ext>
          </c:extLst>
        </c:ser>
        <c:ser>
          <c:idx val="22"/>
          <c:order val="22"/>
          <c:spPr>
            <a:solidFill>
              <a:schemeClr val="accent5">
                <a:lumMod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40:$DA$6640</c:f>
            </c:numRef>
          </c:val>
          <c:extLst>
            <c:ext xmlns:c16="http://schemas.microsoft.com/office/drawing/2014/chart" uri="{C3380CC4-5D6E-409C-BE32-E72D297353CC}">
              <c16:uniqueId val="{00000016-449D-415F-8883-3BF15928C45D}"/>
            </c:ext>
          </c:extLst>
        </c:ser>
        <c:ser>
          <c:idx val="23"/>
          <c:order val="23"/>
          <c:spPr>
            <a:solidFill>
              <a:schemeClr val="accent6">
                <a:lumMod val="80000"/>
              </a:schemeClr>
            </a:solidFill>
            <a:ln>
              <a:noFill/>
            </a:ln>
            <a:effectLst/>
          </c:spPr>
          <c:invertIfNegative val="0"/>
          <c:cat>
            <c:numRef>
              <c:f>Timlista!$CD$6617:$DA$6617</c:f>
              <c:numCache>
                <c:formatCode>General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numCache>
            </c:numRef>
          </c:cat>
          <c:val>
            <c:numRef>
              <c:f>Timlista!$CD$6641:$DA$6641</c:f>
              <c:numCache>
                <c:formatCode>General</c:formatCode>
                <c:ptCount val="24"/>
                <c:pt idx="7">
                  <c:v>2</c:v>
                </c:pt>
                <c:pt idx="8">
                  <c:v>5</c:v>
                </c:pt>
                <c:pt idx="9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449D-415F-8883-3BF15928C4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06585256"/>
        <c:axId val="706592800"/>
      </c:barChart>
      <c:catAx>
        <c:axId val="706585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06592800"/>
        <c:crosses val="autoZero"/>
        <c:auto val="1"/>
        <c:lblAlgn val="ctr"/>
        <c:lblOffset val="100"/>
        <c:noMultiLvlLbl val="0"/>
      </c:catAx>
      <c:valAx>
        <c:axId val="706592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7065852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36" tIns="45719" rIns="91436" bIns="45719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58788"/>
          </a:xfrm>
          <a:prstGeom prst="rect">
            <a:avLst/>
          </a:prstGeom>
        </p:spPr>
        <p:txBody>
          <a:bodyPr vert="horz" lIns="91436" tIns="45719" rIns="91436" bIns="45719" rtlCol="0"/>
          <a:lstStyle>
            <a:lvl1pPr algn="r">
              <a:defRPr sz="1200"/>
            </a:lvl1pPr>
          </a:lstStyle>
          <a:p>
            <a:fld id="{D3185366-E797-44BA-8399-0B8715ED5307}" type="datetimeFigureOut">
              <a:rPr lang="sv-SE" smtClean="0"/>
              <a:t>2022-11-17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6" tIns="45719" rIns="91436" bIns="45719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36" tIns="45719" rIns="91436" bIns="45719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4"/>
            <a:ext cx="2971800" cy="458787"/>
          </a:xfrm>
          <a:prstGeom prst="rect">
            <a:avLst/>
          </a:prstGeom>
        </p:spPr>
        <p:txBody>
          <a:bodyPr vert="horz" lIns="91436" tIns="45719" rIns="91436" bIns="45719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4" y="8685214"/>
            <a:ext cx="2971800" cy="458787"/>
          </a:xfrm>
          <a:prstGeom prst="rect">
            <a:avLst/>
          </a:prstGeom>
        </p:spPr>
        <p:txBody>
          <a:bodyPr vert="horz" lIns="91436" tIns="45719" rIns="91436" bIns="45719" rtlCol="0" anchor="b"/>
          <a:lstStyle>
            <a:lvl1pPr algn="r">
              <a:defRPr sz="1200"/>
            </a:lvl1pPr>
          </a:lstStyle>
          <a:p>
            <a:fld id="{33768751-694D-4D88-A027-CF4A95A1B6E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908727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397575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endParaRPr lang="sv-SE" b="1" i="0" dirty="0">
              <a:solidFill>
                <a:srgbClr val="444444"/>
              </a:solidFill>
              <a:effectLst/>
              <a:latin typeface="Helvetica" panose="020B0604020202020204" pitchFamily="34" charset="0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2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087684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sv-SE" dirty="0">
                <a:effectLst/>
              </a:rPr>
              <a:t>Ugnar, grillar, kokgrytor, spisar, frysar, kylar, diskmaskiner. Förvånad vilka höga säkringsabonnemang de många gånger har.</a:t>
            </a:r>
          </a:p>
          <a:p>
            <a:pPr fontAlgn="base"/>
            <a:r>
              <a:rPr lang="sv-SE" dirty="0">
                <a:effectLst/>
              </a:rPr>
              <a:t>Exempel från kök med 800 portioner</a:t>
            </a:r>
          </a:p>
          <a:p>
            <a:pPr fontAlgn="base"/>
            <a:endParaRPr lang="sv-SE" b="1" i="0" dirty="0">
              <a:solidFill>
                <a:srgbClr val="444444"/>
              </a:solidFill>
              <a:effectLst/>
              <a:latin typeface="Helvetica" panose="020B0604020202020204" pitchFamily="34" charset="0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2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845467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2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823997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lnSpc>
                <a:spcPct val="115000"/>
              </a:lnSpc>
              <a:buFont typeface="+mj-lt"/>
              <a:buNone/>
            </a:pPr>
            <a:endParaRPr lang="sv-SE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fontAlgn="base"/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3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742422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b="0" i="0" dirty="0">
                <a:solidFill>
                  <a:srgbClr val="676767"/>
                </a:solidFill>
                <a:effectLst/>
                <a:latin typeface="GillSansStd"/>
              </a:rPr>
              <a:t>Ex 10 min längre på ris</a:t>
            </a:r>
          </a:p>
          <a:p>
            <a:r>
              <a:rPr lang="sv-SE" b="0" i="0" dirty="0">
                <a:solidFill>
                  <a:srgbClr val="676767"/>
                </a:solidFill>
                <a:effectLst/>
                <a:latin typeface="GillSansStd"/>
              </a:rPr>
              <a:t>Kan nå ännu längre med tekniska lösningar</a:t>
            </a:r>
            <a:br>
              <a:rPr lang="sv-SE" b="0" i="0" dirty="0">
                <a:solidFill>
                  <a:srgbClr val="676767"/>
                </a:solidFill>
                <a:effectLst/>
                <a:latin typeface="GillSansStd"/>
              </a:rPr>
            </a:br>
            <a:r>
              <a:rPr lang="sv-SE" b="0" i="0" dirty="0">
                <a:solidFill>
                  <a:srgbClr val="676767"/>
                </a:solidFill>
                <a:effectLst/>
                <a:latin typeface="GillSansStd"/>
              </a:rPr>
              <a:t>- signalkabel för styrning</a:t>
            </a:r>
            <a:br>
              <a:rPr lang="sv-SE" b="0" i="0" dirty="0">
                <a:solidFill>
                  <a:srgbClr val="676767"/>
                </a:solidFill>
                <a:effectLst/>
                <a:latin typeface="GillSansStd"/>
              </a:rPr>
            </a:br>
            <a:r>
              <a:rPr lang="sv-SE" b="0" i="0" dirty="0">
                <a:solidFill>
                  <a:srgbClr val="676767"/>
                </a:solidFill>
                <a:effectLst/>
                <a:latin typeface="GillSansStd"/>
              </a:rPr>
              <a:t>- nätverkskabel för att följa upp elanvändning.</a:t>
            </a:r>
            <a:br>
              <a:rPr lang="sv-SE" b="0" i="0" dirty="0">
                <a:solidFill>
                  <a:srgbClr val="676767"/>
                </a:solidFill>
                <a:effectLst/>
                <a:latin typeface="GillSansStd"/>
              </a:rPr>
            </a:br>
            <a:endParaRPr lang="sv-SE" dirty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3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281258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65">
              <a:defRPr/>
            </a:pPr>
            <a:fld id="{3ABCBB2E-3ED7-47C8-BF44-C0BEF5FD6806}" type="slidenum">
              <a:rPr lang="sv-SE">
                <a:solidFill>
                  <a:prstClr val="black"/>
                </a:solidFill>
                <a:latin typeface="Calibri" panose="020F0502020204030204"/>
              </a:rPr>
              <a:pPr defTabSz="914365">
                <a:defRPr/>
              </a:pPr>
              <a:t>34</a:t>
            </a:fld>
            <a:endParaRPr lang="sv-S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2758122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err="1"/>
              <a:t>Driftstart</a:t>
            </a:r>
            <a:r>
              <a:rPr lang="sv-SE" dirty="0"/>
              <a:t> av Finlands nya kärnkraftverk </a:t>
            </a:r>
            <a:r>
              <a:rPr lang="sv-SE" dirty="0" err="1"/>
              <a:t>Olkilouto</a:t>
            </a:r>
            <a:r>
              <a:rPr lang="sv-SE" dirty="0"/>
              <a:t> 3 dröjer och Ringhals stängd längre</a:t>
            </a:r>
          </a:p>
          <a:p>
            <a:r>
              <a:rPr lang="sv-SE" dirty="0"/>
              <a:t>MEN Priset stabiliserats något sista månaden från största larmen och pristopparna.</a:t>
            </a:r>
            <a:br>
              <a:rPr lang="sv-SE" dirty="0"/>
            </a:br>
            <a:r>
              <a:rPr lang="sv-SE" dirty="0"/>
              <a:t>Mild höst, hydrobalansen i Norge återställts lite så mindre risk för exportstopp från Norge, Europas gaslager fyllda.</a:t>
            </a:r>
            <a:br>
              <a:rPr lang="sv-SE" dirty="0"/>
            </a:b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552267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4365">
              <a:defRPr/>
            </a:pPr>
            <a:fld id="{AE56493D-AC7A-4E76-9061-A5ADACE52018}" type="slidenum">
              <a:rPr lang="sv-SE">
                <a:solidFill>
                  <a:prstClr val="black"/>
                </a:solidFill>
                <a:latin typeface="Calibri" panose="020F0502020204030204"/>
              </a:rPr>
              <a:pPr defTabSz="914365">
                <a:defRPr/>
              </a:pPr>
              <a:t>5</a:t>
            </a:fld>
            <a:endParaRPr lang="sv-SE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809221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353323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752192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151839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726519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2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737226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endParaRPr lang="sv-SE" b="0" i="0" dirty="0">
              <a:solidFill>
                <a:srgbClr val="444444"/>
              </a:solidFill>
              <a:effectLst/>
              <a:latin typeface="Helvetica" panose="020B0604020202020204" pitchFamily="34" charset="0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768751-694D-4D88-A027-CF4A95A1B6E3}" type="slidenum">
              <a:rPr lang="sv-SE" smtClean="0"/>
              <a:t>2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746959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10" Type="http://schemas.openxmlformats.org/officeDocument/2006/relationships/image" Target="../media/image10.png"/><Relationship Id="rId4" Type="http://schemas.openxmlformats.org/officeDocument/2006/relationships/image" Target="../media/image4.png"/><Relationship Id="rId9" Type="http://schemas.openxmlformats.org/officeDocument/2006/relationships/image" Target="../media/image9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image" Target="../media/image10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ktangel 27">
            <a:extLst>
              <a:ext uri="{FF2B5EF4-FFF2-40B4-BE49-F238E27FC236}">
                <a16:creationId xmlns:a16="http://schemas.microsoft.com/office/drawing/2014/main" id="{5400DCCE-D47D-1749-A852-315E31FA6DDF}"/>
              </a:ext>
            </a:extLst>
          </p:cNvPr>
          <p:cNvSpPr/>
          <p:nvPr userDrawn="1"/>
        </p:nvSpPr>
        <p:spPr>
          <a:xfrm>
            <a:off x="-145774" y="-106017"/>
            <a:ext cx="12483548" cy="71826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215B4F4-530A-4D48-9842-71A0C6448D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rgbClr val="DB6E03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37CE4E4-4E92-284A-B1D9-8F70B52FDA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79785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grpSp>
        <p:nvGrpSpPr>
          <p:cNvPr id="25" name="Grupp 24">
            <a:extLst>
              <a:ext uri="{FF2B5EF4-FFF2-40B4-BE49-F238E27FC236}">
                <a16:creationId xmlns:a16="http://schemas.microsoft.com/office/drawing/2014/main" id="{D939DD61-0728-B540-95E1-98DD56ACAB15}"/>
              </a:ext>
            </a:extLst>
          </p:cNvPr>
          <p:cNvGrpSpPr/>
          <p:nvPr userDrawn="1"/>
        </p:nvGrpSpPr>
        <p:grpSpPr>
          <a:xfrm>
            <a:off x="2922498" y="4616711"/>
            <a:ext cx="6347004" cy="797859"/>
            <a:chOff x="2922498" y="4616711"/>
            <a:chExt cx="6347004" cy="797859"/>
          </a:xfrm>
        </p:grpSpPr>
        <p:pic>
          <p:nvPicPr>
            <p:cNvPr id="11" name="Bildobjekt 10">
              <a:extLst>
                <a:ext uri="{FF2B5EF4-FFF2-40B4-BE49-F238E27FC236}">
                  <a16:creationId xmlns:a16="http://schemas.microsoft.com/office/drawing/2014/main" id="{CD49283B-7D1A-304A-A891-F9EEAE4695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3847356" y="4616711"/>
              <a:ext cx="797859" cy="797859"/>
            </a:xfrm>
            <a:prstGeom prst="rect">
              <a:avLst/>
            </a:prstGeom>
          </p:spPr>
        </p:pic>
        <p:pic>
          <p:nvPicPr>
            <p:cNvPr id="13" name="Bildobjekt 12">
              <a:extLst>
                <a:ext uri="{FF2B5EF4-FFF2-40B4-BE49-F238E27FC236}">
                  <a16:creationId xmlns:a16="http://schemas.microsoft.com/office/drawing/2014/main" id="{AD576102-257C-9944-9D67-AE23D31A14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2922498" y="4616711"/>
              <a:ext cx="797859" cy="797859"/>
            </a:xfrm>
            <a:prstGeom prst="rect">
              <a:avLst/>
            </a:prstGeom>
          </p:spPr>
        </p:pic>
        <p:pic>
          <p:nvPicPr>
            <p:cNvPr id="15" name="Bildobjekt 14">
              <a:extLst>
                <a:ext uri="{FF2B5EF4-FFF2-40B4-BE49-F238E27FC236}">
                  <a16:creationId xmlns:a16="http://schemas.microsoft.com/office/drawing/2014/main" id="{5262156D-82DD-AD4A-8220-21B7191E5F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471643" y="4616711"/>
              <a:ext cx="797859" cy="797859"/>
            </a:xfrm>
            <a:prstGeom prst="rect">
              <a:avLst/>
            </a:prstGeom>
          </p:spPr>
        </p:pic>
        <p:pic>
          <p:nvPicPr>
            <p:cNvPr id="17" name="Bildobjekt 16">
              <a:extLst>
                <a:ext uri="{FF2B5EF4-FFF2-40B4-BE49-F238E27FC236}">
                  <a16:creationId xmlns:a16="http://schemas.microsoft.com/office/drawing/2014/main" id="{EAEC15DF-31D7-6F48-916A-330921A09E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621930" y="4616711"/>
              <a:ext cx="797859" cy="797859"/>
            </a:xfrm>
            <a:prstGeom prst="rect">
              <a:avLst/>
            </a:prstGeom>
          </p:spPr>
        </p:pic>
        <p:pic>
          <p:nvPicPr>
            <p:cNvPr id="19" name="Bildobjekt 18">
              <a:extLst>
                <a:ext uri="{FF2B5EF4-FFF2-40B4-BE49-F238E27FC236}">
                  <a16:creationId xmlns:a16="http://schemas.microsoft.com/office/drawing/2014/main" id="{30BF7993-54B6-ED45-BD8D-7962D66DF9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546788" y="4616711"/>
              <a:ext cx="797859" cy="797859"/>
            </a:xfrm>
            <a:prstGeom prst="rect">
              <a:avLst/>
            </a:prstGeom>
          </p:spPr>
        </p:pic>
        <p:pic>
          <p:nvPicPr>
            <p:cNvPr id="21" name="Bildobjekt 20">
              <a:extLst>
                <a:ext uri="{FF2B5EF4-FFF2-40B4-BE49-F238E27FC236}">
                  <a16:creationId xmlns:a16="http://schemas.microsoft.com/office/drawing/2014/main" id="{024E7279-6A07-AA40-87B1-8943EF0F3A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4772214" y="4616711"/>
              <a:ext cx="797859" cy="797859"/>
            </a:xfrm>
            <a:prstGeom prst="rect">
              <a:avLst/>
            </a:prstGeom>
          </p:spPr>
        </p:pic>
        <p:pic>
          <p:nvPicPr>
            <p:cNvPr id="23" name="Bildobjekt 22">
              <a:extLst>
                <a:ext uri="{FF2B5EF4-FFF2-40B4-BE49-F238E27FC236}">
                  <a16:creationId xmlns:a16="http://schemas.microsoft.com/office/drawing/2014/main" id="{41998102-9ACA-F549-9D11-95E09D0481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5697072" y="4616711"/>
              <a:ext cx="797859" cy="797859"/>
            </a:xfrm>
            <a:prstGeom prst="rect">
              <a:avLst/>
            </a:prstGeom>
          </p:spPr>
        </p:pic>
      </p:grpSp>
      <p:pic>
        <p:nvPicPr>
          <p:cNvPr id="31" name="Bildobjekt 30">
            <a:extLst>
              <a:ext uri="{FF2B5EF4-FFF2-40B4-BE49-F238E27FC236}">
                <a16:creationId xmlns:a16="http://schemas.microsoft.com/office/drawing/2014/main" id="{A3BB7B7D-2EE5-0641-8E70-6CE95FC09AC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90063" y="6081786"/>
            <a:ext cx="1582364" cy="663572"/>
          </a:xfrm>
          <a:prstGeom prst="rect">
            <a:avLst/>
          </a:prstGeom>
        </p:spPr>
      </p:pic>
      <p:pic>
        <p:nvPicPr>
          <p:cNvPr id="40" name="Bildobjekt 39" descr="En bild som visar text&#10;&#10;Automatiskt genererad beskrivning">
            <a:extLst>
              <a:ext uri="{FF2B5EF4-FFF2-40B4-BE49-F238E27FC236}">
                <a16:creationId xmlns:a16="http://schemas.microsoft.com/office/drawing/2014/main" id="{C75C534B-0078-894D-9181-AB79BE1EBD3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13342" y="5924273"/>
            <a:ext cx="2419618" cy="798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9543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 Konsum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15B4F4-530A-4D48-9842-71A0C6448D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0884" y="1701478"/>
            <a:ext cx="4327305" cy="1820059"/>
          </a:xfrm>
        </p:spPr>
        <p:txBody>
          <a:bodyPr anchor="ctr"/>
          <a:lstStyle>
            <a:lvl1pPr algn="l">
              <a:defRPr sz="6000">
                <a:solidFill>
                  <a:srgbClr val="DB6E03"/>
                </a:solidFill>
              </a:defRPr>
            </a:lvl1pPr>
          </a:lstStyle>
          <a:p>
            <a:r>
              <a:rPr lang="sv-SE" dirty="0"/>
              <a:t>Konsumtion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37CE4E4-4E92-284A-B1D9-8F70B52FDA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79785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9618BE4E-A65A-144D-9E5B-759519E182A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93810" y="2042420"/>
            <a:ext cx="1138176" cy="1138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5491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 Nya varor och tj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15B4F4-530A-4D48-9842-71A0C6448D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16637" y="1701478"/>
            <a:ext cx="7810997" cy="1820059"/>
          </a:xfrm>
        </p:spPr>
        <p:txBody>
          <a:bodyPr anchor="ctr"/>
          <a:lstStyle>
            <a:lvl1pPr algn="l">
              <a:defRPr sz="6000">
                <a:solidFill>
                  <a:srgbClr val="DB6E03"/>
                </a:solidFill>
              </a:defRPr>
            </a:lvl1pPr>
          </a:lstStyle>
          <a:p>
            <a:r>
              <a:rPr lang="sv-SE" dirty="0"/>
              <a:t>Nya varor och tjänst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37CE4E4-4E92-284A-B1D9-8F70B52FDA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79785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2CD6EBA-3945-5145-A2B1-134EF77B8C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39565" y="2042420"/>
            <a:ext cx="1138176" cy="1138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0295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utan iko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F2BA47-33E9-A744-9458-A5D97856B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A85704A-F8D4-4948-9B1D-D698D18C5F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673B44F-FAC9-0B42-9BD1-4F157FE5F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585A3CC-542C-2548-9667-C34554BD8095}" type="datetimeFigureOut">
              <a:rPr lang="sv-SE" smtClean="0"/>
              <a:pPr/>
              <a:t>2022-11-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649683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med iko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F2BA47-33E9-A744-9458-A5D97856B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A85704A-F8D4-4948-9B1D-D698D18C5F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673B44F-FAC9-0B42-9BD1-4F157FE5F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585A3CC-542C-2548-9667-C34554BD8095}" type="datetimeFigureOut">
              <a:rPr lang="sv-SE" smtClean="0"/>
              <a:pPr/>
              <a:t>2022-11-17</a:t>
            </a:fld>
            <a:endParaRPr lang="sv-SE" dirty="0"/>
          </a:p>
        </p:txBody>
      </p:sp>
      <p:pic>
        <p:nvPicPr>
          <p:cNvPr id="24" name="Bildobjekt 23">
            <a:extLst>
              <a:ext uri="{FF2B5EF4-FFF2-40B4-BE49-F238E27FC236}">
                <a16:creationId xmlns:a16="http://schemas.microsoft.com/office/drawing/2014/main" id="{03A01D83-5063-A147-B0F3-BD634A68C4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8582954" y="185738"/>
            <a:ext cx="407725" cy="407725"/>
          </a:xfrm>
          <a:prstGeom prst="rect">
            <a:avLst/>
          </a:prstGeom>
          <a:noFill/>
        </p:spPr>
      </p:pic>
      <p:pic>
        <p:nvPicPr>
          <p:cNvPr id="25" name="Bildobjekt 24">
            <a:extLst>
              <a:ext uri="{FF2B5EF4-FFF2-40B4-BE49-F238E27FC236}">
                <a16:creationId xmlns:a16="http://schemas.microsoft.com/office/drawing/2014/main" id="{46BA2C68-776B-8B46-9012-D6AFFA32D2B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70000"/>
          </a:blip>
          <a:stretch>
            <a:fillRect/>
          </a:stretch>
        </p:blipFill>
        <p:spPr>
          <a:xfrm>
            <a:off x="8110330" y="185738"/>
            <a:ext cx="407725" cy="407725"/>
          </a:xfrm>
          <a:prstGeom prst="rect">
            <a:avLst/>
          </a:prstGeom>
          <a:noFill/>
        </p:spPr>
      </p:pic>
      <p:pic>
        <p:nvPicPr>
          <p:cNvPr id="26" name="Bildobjekt 25">
            <a:extLst>
              <a:ext uri="{FF2B5EF4-FFF2-40B4-BE49-F238E27FC236}">
                <a16:creationId xmlns:a16="http://schemas.microsoft.com/office/drawing/2014/main" id="{14938E11-9C1F-CD4C-9996-BF3956C59DC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70000"/>
          </a:blip>
          <a:stretch>
            <a:fillRect/>
          </a:stretch>
        </p:blipFill>
        <p:spPr>
          <a:xfrm>
            <a:off x="10946075" y="185738"/>
            <a:ext cx="407725" cy="407725"/>
          </a:xfrm>
          <a:prstGeom prst="rect">
            <a:avLst/>
          </a:prstGeom>
          <a:noFill/>
        </p:spPr>
      </p:pic>
      <p:pic>
        <p:nvPicPr>
          <p:cNvPr id="27" name="Bildobjekt 26">
            <a:extLst>
              <a:ext uri="{FF2B5EF4-FFF2-40B4-BE49-F238E27FC236}">
                <a16:creationId xmlns:a16="http://schemas.microsoft.com/office/drawing/2014/main" id="{D7C239B0-821A-1942-94AD-97EDBE3E179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70000"/>
          </a:blip>
          <a:stretch>
            <a:fillRect/>
          </a:stretch>
        </p:blipFill>
        <p:spPr>
          <a:xfrm>
            <a:off x="10000828" y="185738"/>
            <a:ext cx="407725" cy="407725"/>
          </a:xfrm>
          <a:prstGeom prst="rect">
            <a:avLst/>
          </a:prstGeom>
          <a:noFill/>
        </p:spPr>
      </p:pic>
      <p:pic>
        <p:nvPicPr>
          <p:cNvPr id="28" name="Bildobjekt 27">
            <a:extLst>
              <a:ext uri="{FF2B5EF4-FFF2-40B4-BE49-F238E27FC236}">
                <a16:creationId xmlns:a16="http://schemas.microsoft.com/office/drawing/2014/main" id="{41D3AD17-381E-A14F-A300-21F49559E25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70000"/>
          </a:blip>
          <a:stretch>
            <a:fillRect/>
          </a:stretch>
        </p:blipFill>
        <p:spPr>
          <a:xfrm>
            <a:off x="10473452" y="185738"/>
            <a:ext cx="407725" cy="407725"/>
          </a:xfrm>
          <a:prstGeom prst="rect">
            <a:avLst/>
          </a:prstGeom>
          <a:noFill/>
        </p:spPr>
      </p:pic>
      <p:pic>
        <p:nvPicPr>
          <p:cNvPr id="29" name="Bildobjekt 28">
            <a:extLst>
              <a:ext uri="{FF2B5EF4-FFF2-40B4-BE49-F238E27FC236}">
                <a16:creationId xmlns:a16="http://schemas.microsoft.com/office/drawing/2014/main" id="{23AEBD4D-7FFF-4C42-954B-58B3FE6813B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alphaModFix amt="70000"/>
          </a:blip>
          <a:stretch>
            <a:fillRect/>
          </a:stretch>
        </p:blipFill>
        <p:spPr>
          <a:xfrm>
            <a:off x="9055579" y="185738"/>
            <a:ext cx="407725" cy="407725"/>
          </a:xfrm>
          <a:prstGeom prst="rect">
            <a:avLst/>
          </a:prstGeom>
          <a:noFill/>
        </p:spPr>
      </p:pic>
      <p:pic>
        <p:nvPicPr>
          <p:cNvPr id="30" name="Bildobjekt 29">
            <a:extLst>
              <a:ext uri="{FF2B5EF4-FFF2-40B4-BE49-F238E27FC236}">
                <a16:creationId xmlns:a16="http://schemas.microsoft.com/office/drawing/2014/main" id="{7FC552EB-7F52-FA46-8E52-19E66AFDAB3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alphaModFix amt="70000"/>
          </a:blip>
          <a:stretch>
            <a:fillRect/>
          </a:stretch>
        </p:blipFill>
        <p:spPr>
          <a:xfrm>
            <a:off x="9528203" y="185738"/>
            <a:ext cx="407725" cy="4077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684809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Energisys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F2BA47-33E9-A744-9458-A5D97856B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6852" y="365125"/>
            <a:ext cx="9206948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A85704A-F8D4-4948-9B1D-D698D18C5F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673B44F-FAC9-0B42-9BD1-4F157FE5F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585A3CC-542C-2548-9667-C34554BD8095}" type="datetimeFigureOut">
              <a:rPr lang="sv-SE" smtClean="0"/>
              <a:pPr/>
              <a:t>2022-11-17</a:t>
            </a:fld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231665A5-4DF1-B742-BB73-805654CAC3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521207"/>
            <a:ext cx="1013398" cy="1013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2047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yggande och bo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F2BA47-33E9-A744-9458-A5D97856B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6852" y="365125"/>
            <a:ext cx="9206948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A85704A-F8D4-4948-9B1D-D698D18C5F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673B44F-FAC9-0B42-9BD1-4F157FE5F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585A3CC-542C-2548-9667-C34554BD8095}" type="datetimeFigureOut">
              <a:rPr lang="sv-SE" smtClean="0"/>
              <a:pPr/>
              <a:t>2022-11-17</a:t>
            </a:fld>
            <a:endParaRPr lang="sv-SE" dirty="0"/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0282693F-05A8-584A-879D-2A900F4264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200" y="519454"/>
            <a:ext cx="1013398" cy="1013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9488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roduk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F2BA47-33E9-A744-9458-A5D97856B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6852" y="365125"/>
            <a:ext cx="9206948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A85704A-F8D4-4948-9B1D-D698D18C5F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673B44F-FAC9-0B42-9BD1-4F157FE5F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585A3CC-542C-2548-9667-C34554BD8095}" type="datetimeFigureOut">
              <a:rPr lang="sv-SE" smtClean="0"/>
              <a:pPr/>
              <a:t>2022-11-17</a:t>
            </a:fld>
            <a:endParaRPr lang="sv-SE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20A5C771-82BD-E344-99BE-03A10B6E0A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199" y="519454"/>
            <a:ext cx="1013398" cy="1013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223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rans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F2BA47-33E9-A744-9458-A5D97856B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6852" y="365125"/>
            <a:ext cx="9206948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A85704A-F8D4-4948-9B1D-D698D18C5F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673B44F-FAC9-0B42-9BD1-4F157FE5F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585A3CC-542C-2548-9667-C34554BD8095}" type="datetimeFigureOut">
              <a:rPr lang="sv-SE" smtClean="0"/>
              <a:pPr/>
              <a:t>2022-11-17</a:t>
            </a:fld>
            <a:endParaRPr lang="sv-SE" dirty="0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C49CF88-B020-2045-8C6D-0CD8222213F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199" y="519455"/>
            <a:ext cx="1013398" cy="1013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1206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Jord- och skogsbru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F2BA47-33E9-A744-9458-A5D97856B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6852" y="365125"/>
            <a:ext cx="9206948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A85704A-F8D4-4948-9B1D-D698D18C5F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673B44F-FAC9-0B42-9BD1-4F157FE5F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585A3CC-542C-2548-9667-C34554BD8095}" type="datetimeFigureOut">
              <a:rPr lang="sv-SE" smtClean="0"/>
              <a:pPr/>
              <a:t>2022-11-17</a:t>
            </a:fld>
            <a:endParaRPr lang="sv-SE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CA98143F-2B43-E148-91F1-19EFD219BB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199" y="519454"/>
            <a:ext cx="1013398" cy="1013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7606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onsum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F2BA47-33E9-A744-9458-A5D97856B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6852" y="365125"/>
            <a:ext cx="9206948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A85704A-F8D4-4948-9B1D-D698D18C5F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673B44F-FAC9-0B42-9BD1-4F157FE5F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585A3CC-542C-2548-9667-C34554BD8095}" type="datetimeFigureOut">
              <a:rPr lang="sv-SE" smtClean="0"/>
              <a:pPr/>
              <a:t>2022-11-17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F7626177-953B-A143-A583-88615719D1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199" y="519455"/>
            <a:ext cx="1013398" cy="1013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0342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 med snur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ktangel 27">
            <a:extLst>
              <a:ext uri="{FF2B5EF4-FFF2-40B4-BE49-F238E27FC236}">
                <a16:creationId xmlns:a16="http://schemas.microsoft.com/office/drawing/2014/main" id="{5400DCCE-D47D-1749-A852-315E31FA6DDF}"/>
              </a:ext>
            </a:extLst>
          </p:cNvPr>
          <p:cNvSpPr/>
          <p:nvPr userDrawn="1"/>
        </p:nvSpPr>
        <p:spPr>
          <a:xfrm>
            <a:off x="-145774" y="-106017"/>
            <a:ext cx="12483548" cy="71826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215B4F4-530A-4D48-9842-71A0C6448D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-427001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rgbClr val="DB6E03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37CE4E4-4E92-284A-B1D9-8F70B52FDA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2052673"/>
            <a:ext cx="9144000" cy="79785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pic>
        <p:nvPicPr>
          <p:cNvPr id="31" name="Bildobjekt 30">
            <a:extLst>
              <a:ext uri="{FF2B5EF4-FFF2-40B4-BE49-F238E27FC236}">
                <a16:creationId xmlns:a16="http://schemas.microsoft.com/office/drawing/2014/main" id="{A3BB7B7D-2EE5-0641-8E70-6CE95FC09A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90063" y="6081786"/>
            <a:ext cx="1582364" cy="663572"/>
          </a:xfrm>
          <a:prstGeom prst="rect">
            <a:avLst/>
          </a:prstGeom>
        </p:spPr>
      </p:pic>
      <p:pic>
        <p:nvPicPr>
          <p:cNvPr id="40" name="Bildobjekt 39" descr="En bild som visar text&#10;&#10;Automatiskt genererad beskrivning">
            <a:extLst>
              <a:ext uri="{FF2B5EF4-FFF2-40B4-BE49-F238E27FC236}">
                <a16:creationId xmlns:a16="http://schemas.microsoft.com/office/drawing/2014/main" id="{C75C534B-0078-894D-9181-AB79BE1EBD3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13342" y="5924273"/>
            <a:ext cx="2419618" cy="798950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08096A67-E352-8746-AC4E-A4C07F3371A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35511" y="2850532"/>
            <a:ext cx="3320978" cy="332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80752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nov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1F2BA47-33E9-A744-9458-A5D97856B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6852" y="365125"/>
            <a:ext cx="9206948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A85704A-F8D4-4948-9B1D-D698D18C5F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673B44F-FAC9-0B42-9BD1-4F157FE5F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585A3CC-542C-2548-9667-C34554BD8095}" type="datetimeFigureOut">
              <a:rPr lang="sv-SE" smtClean="0"/>
              <a:pPr/>
              <a:t>2022-11-17</a:t>
            </a:fld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B8AA4D20-DB0A-C04B-9728-5AE32C4EE2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8199" y="519454"/>
            <a:ext cx="1013398" cy="1013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7552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 mö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94" name="Picture 22" descr="SvK-PPT-Framsida-moÌˆrk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3" y="2"/>
            <a:ext cx="12219511" cy="687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878168" y="1500188"/>
            <a:ext cx="8226056" cy="1079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 noProof="0"/>
              <a:t>Klicka här för att ändra format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78168" y="2852738"/>
            <a:ext cx="8226056" cy="1338262"/>
          </a:xfrm>
        </p:spPr>
        <p:txBody>
          <a:bodyPr/>
          <a:lstStyle>
            <a:lvl1pPr marL="0" indent="0">
              <a:lnSpc>
                <a:spcPts val="2617"/>
              </a:lnSpc>
              <a:buFont typeface="Arial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 noProof="0"/>
              <a:t>Klicka här för att ändra format på underrubrik i bakgrunden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2878167" y="250825"/>
            <a:ext cx="2844306" cy="476250"/>
          </a:xfrm>
        </p:spPr>
        <p:txBody>
          <a:bodyPr/>
          <a:lstStyle>
            <a:lvl1pPr>
              <a:lnSpc>
                <a:spcPct val="100000"/>
              </a:lnSpc>
              <a:defRPr sz="1699">
                <a:solidFill>
                  <a:schemeClr val="bg1"/>
                </a:solidFill>
              </a:defRPr>
            </a:lvl1pPr>
          </a:lstStyle>
          <a:p>
            <a:r>
              <a:rPr lang="sv-SE">
                <a:solidFill>
                  <a:srgbClr val="FFFFFF"/>
                </a:solidFill>
              </a:rPr>
              <a:t>2013-03-19</a:t>
            </a:r>
          </a:p>
        </p:txBody>
      </p:sp>
      <p:sp>
        <p:nvSpPr>
          <p:cNvPr id="3093" name="Line 21"/>
          <p:cNvSpPr>
            <a:spLocks noChangeShapeType="1"/>
          </p:cNvSpPr>
          <p:nvPr/>
        </p:nvSpPr>
        <p:spPr bwMode="auto">
          <a:xfrm>
            <a:off x="2882401" y="1196975"/>
            <a:ext cx="8226056" cy="1588"/>
          </a:xfrm>
          <a:prstGeom prst="line">
            <a:avLst/>
          </a:prstGeom>
          <a:noFill/>
          <a:ln w="101600">
            <a:solidFill>
              <a:srgbClr val="009F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825" tIns="54413" rIns="108825" bIns="54413"/>
          <a:lstStyle/>
          <a:p>
            <a:endParaRPr lang="sv-SE" sz="1799">
              <a:solidFill>
                <a:srgbClr val="333333"/>
              </a:solidFill>
            </a:endParaRPr>
          </a:p>
        </p:txBody>
      </p:sp>
      <p:pic>
        <p:nvPicPr>
          <p:cNvPr id="3089" name="Picture 17" descr="Liggande_logotyp_Powerpoint - svart botten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8167" y="5713413"/>
            <a:ext cx="2399883" cy="525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68743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Rubrikbild mö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 4"/>
          <p:cNvGrpSpPr/>
          <p:nvPr userDrawn="1"/>
        </p:nvGrpSpPr>
        <p:grpSpPr>
          <a:xfrm>
            <a:off x="6" y="8903"/>
            <a:ext cx="12229935" cy="6876483"/>
            <a:chOff x="5" y="8901"/>
            <a:chExt cx="9174044" cy="6876483"/>
          </a:xfrm>
        </p:grpSpPr>
        <p:pic>
          <p:nvPicPr>
            <p:cNvPr id="16" name="Bildobjekt 15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" y="8901"/>
              <a:ext cx="9173085" cy="6876000"/>
            </a:xfrm>
            <a:prstGeom prst="rect">
              <a:avLst/>
            </a:prstGeom>
          </p:spPr>
        </p:pic>
        <p:sp>
          <p:nvSpPr>
            <p:cNvPr id="15" name="Rektangel 14"/>
            <p:cNvSpPr/>
            <p:nvPr userDrawn="1"/>
          </p:nvSpPr>
          <p:spPr>
            <a:xfrm>
              <a:off x="1249" y="9384"/>
              <a:ext cx="9172800" cy="6876000"/>
            </a:xfrm>
            <a:prstGeom prst="rect">
              <a:avLst/>
            </a:prstGeom>
            <a:solidFill>
              <a:schemeClr val="bg1">
                <a:alpha val="6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799">
                <a:solidFill>
                  <a:srgbClr val="FFFFFF"/>
                </a:solidFill>
              </a:endParaRPr>
            </a:p>
          </p:txBody>
        </p:sp>
      </p:grp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878168" y="1500188"/>
            <a:ext cx="8226056" cy="1079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sv-SE" noProof="0"/>
              <a:t>Klicka här för att ändra format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78168" y="2852738"/>
            <a:ext cx="8226056" cy="1338262"/>
          </a:xfrm>
        </p:spPr>
        <p:txBody>
          <a:bodyPr/>
          <a:lstStyle>
            <a:lvl1pPr marL="0" indent="0">
              <a:lnSpc>
                <a:spcPts val="2617"/>
              </a:lnSpc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sv-SE" noProof="0"/>
              <a:t>Klicka här för att ändra format på underrubrik i bakgrunden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2878167" y="250825"/>
            <a:ext cx="2844306" cy="476250"/>
          </a:xfrm>
        </p:spPr>
        <p:txBody>
          <a:bodyPr/>
          <a:lstStyle>
            <a:lvl1pPr>
              <a:lnSpc>
                <a:spcPct val="100000"/>
              </a:lnSpc>
              <a:defRPr sz="1699">
                <a:solidFill>
                  <a:schemeClr val="tx1"/>
                </a:solidFill>
              </a:defRPr>
            </a:lvl1pPr>
          </a:lstStyle>
          <a:p>
            <a:r>
              <a:rPr lang="sv-SE">
                <a:solidFill>
                  <a:srgbClr val="333333"/>
                </a:solidFill>
              </a:rPr>
              <a:t>2013-03-19</a:t>
            </a:r>
            <a:endParaRPr lang="sv-SE" dirty="0">
              <a:solidFill>
                <a:srgbClr val="333333"/>
              </a:solidFill>
            </a:endParaRPr>
          </a:p>
        </p:txBody>
      </p:sp>
      <p:sp>
        <p:nvSpPr>
          <p:cNvPr id="3093" name="Line 21"/>
          <p:cNvSpPr>
            <a:spLocks noChangeShapeType="1"/>
          </p:cNvSpPr>
          <p:nvPr/>
        </p:nvSpPr>
        <p:spPr bwMode="auto">
          <a:xfrm>
            <a:off x="2882401" y="1196975"/>
            <a:ext cx="8226056" cy="1588"/>
          </a:xfrm>
          <a:prstGeom prst="line">
            <a:avLst/>
          </a:prstGeom>
          <a:noFill/>
          <a:ln w="101600">
            <a:solidFill>
              <a:srgbClr val="009F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825" tIns="54413" rIns="108825" bIns="54413"/>
          <a:lstStyle/>
          <a:p>
            <a:endParaRPr lang="sv-SE" sz="1799">
              <a:solidFill>
                <a:srgbClr val="333333"/>
              </a:solidFill>
            </a:endParaRPr>
          </a:p>
        </p:txBody>
      </p:sp>
      <p:pic>
        <p:nvPicPr>
          <p:cNvPr id="17" name="Picture 3" descr="\\svk.local\adminroot\Userdata\erva\Desktop\logo_liggande_76-160mm150dpi_black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547" y="5712824"/>
            <a:ext cx="2402829" cy="52448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039046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1113485" y="250827"/>
            <a:ext cx="1439750" cy="225847"/>
          </a:xfrm>
        </p:spPr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rgbClr val="333333"/>
                </a:solidFill>
              </a:rPr>
              <a:t>2013-03-19</a:t>
            </a:r>
            <a:endParaRPr lang="sv-SE" dirty="0">
              <a:solidFill>
                <a:srgbClr val="333333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rgbClr val="333333"/>
                </a:solidFill>
              </a:rPr>
              <a:t>Åsa Boholm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95DF6A3-71A4-4141-8675-DE14763EFB72}" type="slidenum">
              <a:rPr lang="sv-SE">
                <a:solidFill>
                  <a:srgbClr val="333333"/>
                </a:solidFill>
              </a:rPr>
              <a:pPr/>
              <a:t>‹#›</a:t>
            </a:fld>
            <a:endParaRPr lang="sv-SE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3344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1103807" y="2087999"/>
            <a:ext cx="4943142" cy="3708000"/>
          </a:xfrm>
        </p:spPr>
        <p:txBody>
          <a:bodyPr/>
          <a:lstStyle>
            <a:lvl1pPr>
              <a:defRPr sz="2399"/>
            </a:lvl1pPr>
            <a:lvl2pPr>
              <a:defRPr sz="1799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238917" y="2087999"/>
            <a:ext cx="4943142" cy="3708000"/>
          </a:xfrm>
        </p:spPr>
        <p:txBody>
          <a:bodyPr/>
          <a:lstStyle>
            <a:lvl1pPr>
              <a:defRPr sz="2399"/>
            </a:lvl1pPr>
            <a:lvl2pPr>
              <a:defRPr sz="1799"/>
            </a:lvl2pPr>
            <a:lvl3pPr>
              <a:defRPr sz="1799"/>
            </a:lvl3pPr>
            <a:lvl4pPr>
              <a:defRPr sz="1799"/>
            </a:lvl4pPr>
            <a:lvl5pPr>
              <a:defRPr sz="1799"/>
            </a:lvl5pPr>
            <a:lvl6pPr>
              <a:defRPr sz="2099"/>
            </a:lvl6pPr>
            <a:lvl7pPr>
              <a:defRPr sz="2099"/>
            </a:lvl7pPr>
            <a:lvl8pPr>
              <a:defRPr sz="2099"/>
            </a:lvl8pPr>
            <a:lvl9pPr>
              <a:defRPr sz="2099"/>
            </a:lvl9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>
          <a:xfrm>
            <a:off x="1113485" y="250827"/>
            <a:ext cx="1439750" cy="225847"/>
          </a:xfrm>
        </p:spPr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rgbClr val="333333"/>
                </a:solidFill>
              </a:rPr>
              <a:t>2013-03-19</a:t>
            </a:r>
            <a:endParaRPr lang="sv-SE" dirty="0">
              <a:solidFill>
                <a:srgbClr val="333333"/>
              </a:solidFill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rgbClr val="333333"/>
                </a:solidFill>
              </a:rPr>
              <a:t>Åsa Boholm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7BF27DE-3542-4305-B2C5-E040C75B7B15}" type="slidenum">
              <a:rPr lang="sv-SE">
                <a:solidFill>
                  <a:srgbClr val="333333"/>
                </a:solidFill>
              </a:rPr>
              <a:pPr/>
              <a:t>‹#›</a:t>
            </a:fld>
            <a:endParaRPr lang="sv-SE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45027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1113485" y="250827"/>
            <a:ext cx="1439750" cy="225847"/>
          </a:xfrm>
        </p:spPr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rgbClr val="333333"/>
                </a:solidFill>
              </a:rPr>
              <a:t>2013-03-19</a:t>
            </a:r>
            <a:endParaRPr lang="sv-SE" dirty="0">
              <a:solidFill>
                <a:srgbClr val="333333"/>
              </a:solidFill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rgbClr val="333333"/>
                </a:solidFill>
              </a:rPr>
              <a:t>Åsa Boholm</a:t>
            </a: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636D299-AEE8-4CD0-96AE-BEC3F2C9D14E}" type="slidenum">
              <a:rPr lang="sv-SE">
                <a:solidFill>
                  <a:srgbClr val="333333"/>
                </a:solidFill>
              </a:rPr>
              <a:pPr/>
              <a:t>‹#›</a:t>
            </a:fld>
            <a:endParaRPr lang="sv-SE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7856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>
          <a:xfrm>
            <a:off x="1113485" y="250827"/>
            <a:ext cx="1439750" cy="225847"/>
          </a:xfrm>
        </p:spPr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rgbClr val="333333"/>
                </a:solidFill>
              </a:rPr>
              <a:t>2013-03-19</a:t>
            </a:r>
            <a:endParaRPr lang="sv-SE" dirty="0">
              <a:solidFill>
                <a:srgbClr val="333333"/>
              </a:solidFill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rgbClr val="333333"/>
                </a:solidFill>
              </a:rPr>
              <a:t>Åsa Boholm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66ECB32-ACFA-4A2A-9DE2-C5BB3344D82D}" type="slidenum">
              <a:rPr lang="sv-SE">
                <a:solidFill>
                  <a:srgbClr val="333333"/>
                </a:solidFill>
              </a:rPr>
              <a:pPr/>
              <a:t>‹#›</a:t>
            </a:fld>
            <a:endParaRPr lang="sv-SE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85205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042341"/>
            <a:ext cx="12192000" cy="9150652"/>
          </a:xfrm>
          <a:prstGeom prst="rect">
            <a:avLst/>
          </a:prstGeom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878167" y="1500195"/>
            <a:ext cx="8226056" cy="1079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sv-SE" noProof="0"/>
              <a:t>Klicka här för att ändra format</a:t>
            </a:r>
            <a:endParaRPr lang="sv-SE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78167" y="2852744"/>
            <a:ext cx="8226056" cy="1338263"/>
          </a:xfrm>
        </p:spPr>
        <p:txBody>
          <a:bodyPr/>
          <a:lstStyle>
            <a:lvl1pPr marL="0" indent="0">
              <a:lnSpc>
                <a:spcPts val="1995"/>
              </a:lnSpc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sv-SE" noProof="0"/>
              <a:t>Klicka här för att ändra format på underrubrik i bakgrunden</a:t>
            </a:r>
            <a:endParaRPr lang="sv-SE" noProof="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2878167" y="250827"/>
            <a:ext cx="2844307" cy="476251"/>
          </a:xfrm>
        </p:spPr>
        <p:txBody>
          <a:bodyPr/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3093" name="Line 21"/>
          <p:cNvSpPr>
            <a:spLocks noChangeShapeType="1"/>
          </p:cNvSpPr>
          <p:nvPr/>
        </p:nvSpPr>
        <p:spPr bwMode="auto">
          <a:xfrm>
            <a:off x="2882401" y="1196978"/>
            <a:ext cx="8226056" cy="1588"/>
          </a:xfrm>
          <a:prstGeom prst="line">
            <a:avLst/>
          </a:prstGeom>
          <a:noFill/>
          <a:ln w="101600">
            <a:solidFill>
              <a:srgbClr val="009F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908" tIns="41454" rIns="82908" bIns="41454"/>
          <a:lstStyle/>
          <a:p>
            <a:endParaRPr lang="sv-SE" sz="1799"/>
          </a:p>
        </p:txBody>
      </p:sp>
      <p:pic>
        <p:nvPicPr>
          <p:cNvPr id="8" name="Picture 2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58999" y="5157198"/>
            <a:ext cx="2391247" cy="695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3060460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24"/>
          <a:stretch/>
        </p:blipFill>
        <p:spPr>
          <a:xfrm>
            <a:off x="-960978" y="10"/>
            <a:ext cx="13150865" cy="6857999"/>
          </a:xfrm>
          <a:prstGeom prst="rect">
            <a:avLst/>
          </a:prstGeom>
        </p:spPr>
      </p:pic>
      <p:pic>
        <p:nvPicPr>
          <p:cNvPr id="8" name="Bildobjekt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09"/>
          <a:stretch/>
        </p:blipFill>
        <p:spPr>
          <a:xfrm>
            <a:off x="-960980" y="10"/>
            <a:ext cx="13152983" cy="6857999"/>
          </a:xfrm>
          <a:prstGeom prst="rect">
            <a:avLst/>
          </a:prstGeom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878167" y="1500195"/>
            <a:ext cx="8226056" cy="1079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 noProof="0"/>
              <a:t>Klicka här för att ändra format</a:t>
            </a:r>
            <a:endParaRPr lang="sv-SE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78167" y="2852744"/>
            <a:ext cx="8226056" cy="1338263"/>
          </a:xfrm>
        </p:spPr>
        <p:txBody>
          <a:bodyPr/>
          <a:lstStyle>
            <a:lvl1pPr marL="0" indent="0">
              <a:lnSpc>
                <a:spcPts val="1995"/>
              </a:lnSpc>
              <a:buFont typeface="Arial" charset="0"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 noProof="0"/>
              <a:t>Klicka här för att ändra format på underrubrik i bakgrunden</a:t>
            </a:r>
            <a:endParaRPr lang="sv-SE" noProof="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2878167" y="250827"/>
            <a:ext cx="2844307" cy="476251"/>
          </a:xfrm>
        </p:spPr>
        <p:txBody>
          <a:bodyPr/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3093" name="Line 21"/>
          <p:cNvSpPr>
            <a:spLocks noChangeShapeType="1"/>
          </p:cNvSpPr>
          <p:nvPr/>
        </p:nvSpPr>
        <p:spPr bwMode="auto">
          <a:xfrm>
            <a:off x="2882401" y="1196978"/>
            <a:ext cx="8226056" cy="1588"/>
          </a:xfrm>
          <a:prstGeom prst="line">
            <a:avLst/>
          </a:prstGeom>
          <a:noFill/>
          <a:ln w="101600">
            <a:solidFill>
              <a:srgbClr val="009F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908" tIns="41454" rIns="82908" bIns="41454"/>
          <a:lstStyle/>
          <a:p>
            <a:endParaRPr lang="sv-SE" sz="1799"/>
          </a:p>
        </p:txBody>
      </p:sp>
      <p:pic>
        <p:nvPicPr>
          <p:cNvPr id="10" name="Picture 2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50238" y="5157198"/>
            <a:ext cx="2408767" cy="695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11628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7"/>
          <a:stretch/>
        </p:blipFill>
        <p:spPr>
          <a:xfrm>
            <a:off x="-1473996" y="0"/>
            <a:ext cx="13666002" cy="6858000"/>
          </a:xfrm>
          <a:prstGeom prst="rect">
            <a:avLst/>
          </a:prstGeom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878167" y="1500195"/>
            <a:ext cx="8226056" cy="10795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sv-SE" noProof="0"/>
              <a:t>Klicka här för att ändra format</a:t>
            </a:r>
            <a:endParaRPr lang="sv-SE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78167" y="2852744"/>
            <a:ext cx="8226056" cy="1338263"/>
          </a:xfrm>
        </p:spPr>
        <p:txBody>
          <a:bodyPr/>
          <a:lstStyle>
            <a:lvl1pPr marL="0" indent="0">
              <a:lnSpc>
                <a:spcPts val="1995"/>
              </a:lnSpc>
              <a:buFont typeface="Arial" charset="0"/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sv-SE" noProof="0"/>
              <a:t>Klicka här för att ändra format på underrubrik i bakgrunden</a:t>
            </a:r>
            <a:endParaRPr lang="sv-SE" noProof="0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>
          <a:xfrm>
            <a:off x="2878167" y="250827"/>
            <a:ext cx="2844307" cy="476251"/>
          </a:xfrm>
        </p:spPr>
        <p:txBody>
          <a:bodyPr/>
          <a:lstStyle>
            <a:lvl1pPr>
              <a:lnSpc>
                <a:spcPct val="100000"/>
              </a:lnSpc>
              <a:defRPr sz="120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3093" name="Line 21"/>
          <p:cNvSpPr>
            <a:spLocks noChangeShapeType="1"/>
          </p:cNvSpPr>
          <p:nvPr/>
        </p:nvSpPr>
        <p:spPr bwMode="auto">
          <a:xfrm>
            <a:off x="2882401" y="1196978"/>
            <a:ext cx="8226056" cy="1588"/>
          </a:xfrm>
          <a:prstGeom prst="line">
            <a:avLst/>
          </a:prstGeom>
          <a:noFill/>
          <a:ln w="101600">
            <a:solidFill>
              <a:srgbClr val="009FD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908" tIns="41454" rIns="82908" bIns="41454"/>
          <a:lstStyle/>
          <a:p>
            <a:endParaRPr lang="sv-SE" sz="1799"/>
          </a:p>
        </p:txBody>
      </p:sp>
      <p:pic>
        <p:nvPicPr>
          <p:cNvPr id="8" name="Picture 26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50238" y="5157198"/>
            <a:ext cx="2408767" cy="695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10484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 utan Länsstyrels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ktangel 27">
            <a:extLst>
              <a:ext uri="{FF2B5EF4-FFF2-40B4-BE49-F238E27FC236}">
                <a16:creationId xmlns:a16="http://schemas.microsoft.com/office/drawing/2014/main" id="{5400DCCE-D47D-1749-A852-315E31FA6DDF}"/>
              </a:ext>
            </a:extLst>
          </p:cNvPr>
          <p:cNvSpPr/>
          <p:nvPr userDrawn="1"/>
        </p:nvSpPr>
        <p:spPr>
          <a:xfrm>
            <a:off x="-145774" y="-106017"/>
            <a:ext cx="12483548" cy="71826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215B4F4-530A-4D48-9842-71A0C6448D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rgbClr val="DB6E03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37CE4E4-4E92-284A-B1D9-8F70B52FDA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79785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grpSp>
        <p:nvGrpSpPr>
          <p:cNvPr id="25" name="Grupp 24">
            <a:extLst>
              <a:ext uri="{FF2B5EF4-FFF2-40B4-BE49-F238E27FC236}">
                <a16:creationId xmlns:a16="http://schemas.microsoft.com/office/drawing/2014/main" id="{D939DD61-0728-B540-95E1-98DD56ACAB15}"/>
              </a:ext>
            </a:extLst>
          </p:cNvPr>
          <p:cNvGrpSpPr/>
          <p:nvPr userDrawn="1"/>
        </p:nvGrpSpPr>
        <p:grpSpPr>
          <a:xfrm>
            <a:off x="2922498" y="4616711"/>
            <a:ext cx="6347004" cy="797859"/>
            <a:chOff x="2922498" y="4616711"/>
            <a:chExt cx="6347004" cy="797859"/>
          </a:xfrm>
        </p:grpSpPr>
        <p:pic>
          <p:nvPicPr>
            <p:cNvPr id="11" name="Bildobjekt 10">
              <a:extLst>
                <a:ext uri="{FF2B5EF4-FFF2-40B4-BE49-F238E27FC236}">
                  <a16:creationId xmlns:a16="http://schemas.microsoft.com/office/drawing/2014/main" id="{CD49283B-7D1A-304A-A891-F9EEAE4695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3847356" y="4616711"/>
              <a:ext cx="797859" cy="797859"/>
            </a:xfrm>
            <a:prstGeom prst="rect">
              <a:avLst/>
            </a:prstGeom>
          </p:spPr>
        </p:pic>
        <p:pic>
          <p:nvPicPr>
            <p:cNvPr id="13" name="Bildobjekt 12">
              <a:extLst>
                <a:ext uri="{FF2B5EF4-FFF2-40B4-BE49-F238E27FC236}">
                  <a16:creationId xmlns:a16="http://schemas.microsoft.com/office/drawing/2014/main" id="{AD576102-257C-9944-9D67-AE23D31A14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2922498" y="4616711"/>
              <a:ext cx="797859" cy="797859"/>
            </a:xfrm>
            <a:prstGeom prst="rect">
              <a:avLst/>
            </a:prstGeom>
          </p:spPr>
        </p:pic>
        <p:pic>
          <p:nvPicPr>
            <p:cNvPr id="15" name="Bildobjekt 14">
              <a:extLst>
                <a:ext uri="{FF2B5EF4-FFF2-40B4-BE49-F238E27FC236}">
                  <a16:creationId xmlns:a16="http://schemas.microsoft.com/office/drawing/2014/main" id="{5262156D-82DD-AD4A-8220-21B7191E5F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8471643" y="4616711"/>
              <a:ext cx="797859" cy="797859"/>
            </a:xfrm>
            <a:prstGeom prst="rect">
              <a:avLst/>
            </a:prstGeom>
          </p:spPr>
        </p:pic>
        <p:pic>
          <p:nvPicPr>
            <p:cNvPr id="17" name="Bildobjekt 16">
              <a:extLst>
                <a:ext uri="{FF2B5EF4-FFF2-40B4-BE49-F238E27FC236}">
                  <a16:creationId xmlns:a16="http://schemas.microsoft.com/office/drawing/2014/main" id="{EAEC15DF-31D7-6F48-916A-330921A09E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6621930" y="4616711"/>
              <a:ext cx="797859" cy="797859"/>
            </a:xfrm>
            <a:prstGeom prst="rect">
              <a:avLst/>
            </a:prstGeom>
          </p:spPr>
        </p:pic>
        <p:pic>
          <p:nvPicPr>
            <p:cNvPr id="19" name="Bildobjekt 18">
              <a:extLst>
                <a:ext uri="{FF2B5EF4-FFF2-40B4-BE49-F238E27FC236}">
                  <a16:creationId xmlns:a16="http://schemas.microsoft.com/office/drawing/2014/main" id="{30BF7993-54B6-ED45-BD8D-7962D66DF9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546788" y="4616711"/>
              <a:ext cx="797859" cy="797859"/>
            </a:xfrm>
            <a:prstGeom prst="rect">
              <a:avLst/>
            </a:prstGeom>
          </p:spPr>
        </p:pic>
        <p:pic>
          <p:nvPicPr>
            <p:cNvPr id="21" name="Bildobjekt 20">
              <a:extLst>
                <a:ext uri="{FF2B5EF4-FFF2-40B4-BE49-F238E27FC236}">
                  <a16:creationId xmlns:a16="http://schemas.microsoft.com/office/drawing/2014/main" id="{024E7279-6A07-AA40-87B1-8943EF0F3AB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4772214" y="4616711"/>
              <a:ext cx="797859" cy="797859"/>
            </a:xfrm>
            <a:prstGeom prst="rect">
              <a:avLst/>
            </a:prstGeom>
          </p:spPr>
        </p:pic>
        <p:pic>
          <p:nvPicPr>
            <p:cNvPr id="23" name="Bildobjekt 22">
              <a:extLst>
                <a:ext uri="{FF2B5EF4-FFF2-40B4-BE49-F238E27FC236}">
                  <a16:creationId xmlns:a16="http://schemas.microsoft.com/office/drawing/2014/main" id="{41998102-9ACA-F549-9D11-95E09D0481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5697072" y="4616711"/>
              <a:ext cx="797859" cy="797859"/>
            </a:xfrm>
            <a:prstGeom prst="rect">
              <a:avLst/>
            </a:prstGeom>
          </p:spPr>
        </p:pic>
      </p:grpSp>
      <p:pic>
        <p:nvPicPr>
          <p:cNvPr id="40" name="Bildobjekt 39" descr="En bild som visar text&#10;&#10;Automatiskt genererad beskrivning">
            <a:extLst>
              <a:ext uri="{FF2B5EF4-FFF2-40B4-BE49-F238E27FC236}">
                <a16:creationId xmlns:a16="http://schemas.microsoft.com/office/drawing/2014/main" id="{C75C534B-0078-894D-9181-AB79BE1EBD3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13342" y="5924273"/>
            <a:ext cx="2419618" cy="798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241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95DF6A3-71A4-4141-8675-DE14763EFB72}" type="slidenum">
              <a:rPr lang="sv-SE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652067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1103807" y="2088001"/>
            <a:ext cx="4943141" cy="3708000"/>
          </a:xfrm>
        </p:spPr>
        <p:txBody>
          <a:bodyPr/>
          <a:lstStyle>
            <a:lvl1pPr>
              <a:defRPr sz="1799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238914" y="2088001"/>
            <a:ext cx="4943141" cy="3708000"/>
          </a:xfrm>
        </p:spPr>
        <p:txBody>
          <a:bodyPr/>
          <a:lstStyle>
            <a:lvl1pPr>
              <a:defRPr sz="1799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7BF27DE-3542-4305-B2C5-E040C75B7B15}" type="slidenum">
              <a:rPr lang="sv-SE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892326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636D299-AEE8-4CD0-96AE-BEC3F2C9D14E}" type="slidenum">
              <a:rPr lang="sv-SE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184698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66ECB32-ACFA-4A2A-9DE2-C5BB3344D82D}" type="slidenum">
              <a:rPr lang="sv-SE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076501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 utan str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66ECB32-ACFA-4A2A-9DE2-C5BB3344D82D}" type="slidenum">
              <a:rPr lang="sv-SE"/>
              <a:pPr/>
              <a:t>‹#›</a:t>
            </a:fld>
            <a:endParaRPr lang="sv-SE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93043" y="6021295"/>
            <a:ext cx="1889016" cy="54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27595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itat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908" tIns="41454" rIns="82908" bIns="41454" rtlCol="0" anchor="ctr"/>
          <a:lstStyle/>
          <a:p>
            <a:pPr algn="ctr"/>
            <a:endParaRPr lang="sv-SE" sz="1799"/>
          </a:p>
        </p:txBody>
      </p:sp>
      <p:sp>
        <p:nvSpPr>
          <p:cNvPr id="4" name="Platshållare för bildnummer 5"/>
          <p:cNvSpPr txBox="1">
            <a:spLocks/>
          </p:cNvSpPr>
          <p:nvPr userDrawn="1"/>
        </p:nvSpPr>
        <p:spPr bwMode="auto">
          <a:xfrm>
            <a:off x="10431759" y="250834"/>
            <a:ext cx="720000" cy="225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sv-SE"/>
            </a:defPPr>
            <a:lvl1pPr algn="r" rtl="0" fontAlgn="base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r" defTabSz="829068" rtl="0" eaLnBrk="1" fontAlgn="base" latinLnBrk="0" hangingPunct="1">
              <a:lnSpc>
                <a:spcPts val="907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5DF6A3-71A4-4141-8675-DE14763EFB72}" type="slidenum">
              <a:rPr kumimoji="0" lang="sv-SE" sz="7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829068" rtl="0" eaLnBrk="1" fontAlgn="base" latinLnBrk="0" hangingPunct="1">
                <a:lnSpc>
                  <a:spcPts val="907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7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cxnSp>
        <p:nvCxnSpPr>
          <p:cNvPr id="5" name="Rak 4"/>
          <p:cNvCxnSpPr/>
          <p:nvPr userDrawn="1"/>
        </p:nvCxnSpPr>
        <p:spPr>
          <a:xfrm>
            <a:off x="1103453" y="476672"/>
            <a:ext cx="100811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Rak 5"/>
          <p:cNvCxnSpPr/>
          <p:nvPr userDrawn="1"/>
        </p:nvCxnSpPr>
        <p:spPr>
          <a:xfrm>
            <a:off x="1103453" y="5805265"/>
            <a:ext cx="100811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latshållare för innehåll 10"/>
          <p:cNvSpPr>
            <a:spLocks noGrp="1"/>
          </p:cNvSpPr>
          <p:nvPr>
            <p:ph sz="quarter" idx="10" hasCustomPrompt="1"/>
          </p:nvPr>
        </p:nvSpPr>
        <p:spPr>
          <a:xfrm>
            <a:off x="1200311" y="2348881"/>
            <a:ext cx="9791389" cy="1080120"/>
          </a:xfrm>
        </p:spPr>
        <p:txBody>
          <a:bodyPr/>
          <a:lstStyle>
            <a:lvl1pPr marL="0" indent="0" algn="ctr">
              <a:buNone/>
              <a:defRPr sz="28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”Sida för citat, inledning, sammanfattning, slutsats”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93043" y="6023290"/>
            <a:ext cx="1889016" cy="545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40731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tiatbild">
    <p:bg>
      <p:bgPr>
        <a:solidFill>
          <a:srgbClr val="00B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908" tIns="41454" rIns="82908" bIns="41454" rtlCol="0" anchor="ctr"/>
          <a:lstStyle/>
          <a:p>
            <a:pPr algn="ctr"/>
            <a:endParaRPr lang="sv-SE" sz="1799"/>
          </a:p>
        </p:txBody>
      </p:sp>
      <p:sp>
        <p:nvSpPr>
          <p:cNvPr id="4" name="Platshållare för bildnummer 5"/>
          <p:cNvSpPr txBox="1">
            <a:spLocks/>
          </p:cNvSpPr>
          <p:nvPr userDrawn="1"/>
        </p:nvSpPr>
        <p:spPr bwMode="auto">
          <a:xfrm>
            <a:off x="10431759" y="250834"/>
            <a:ext cx="720000" cy="225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sv-SE"/>
            </a:defPPr>
            <a:lvl1pPr algn="r" rtl="0" fontAlgn="base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r" defTabSz="829068" rtl="0" eaLnBrk="1" fontAlgn="base" latinLnBrk="0" hangingPunct="1">
              <a:lnSpc>
                <a:spcPts val="907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5DF6A3-71A4-4141-8675-DE14763EFB72}" type="slidenum">
              <a:rPr kumimoji="0" lang="sv-SE" sz="7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829068" rtl="0" eaLnBrk="1" fontAlgn="base" latinLnBrk="0" hangingPunct="1">
                <a:lnSpc>
                  <a:spcPts val="907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7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cxnSp>
        <p:nvCxnSpPr>
          <p:cNvPr id="5" name="Rak 4"/>
          <p:cNvCxnSpPr/>
          <p:nvPr userDrawn="1"/>
        </p:nvCxnSpPr>
        <p:spPr>
          <a:xfrm>
            <a:off x="1103453" y="476672"/>
            <a:ext cx="100811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Rak 5"/>
          <p:cNvCxnSpPr/>
          <p:nvPr userDrawn="1"/>
        </p:nvCxnSpPr>
        <p:spPr>
          <a:xfrm>
            <a:off x="1103453" y="5805265"/>
            <a:ext cx="100811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latshållare för innehåll 9"/>
          <p:cNvSpPr>
            <a:spLocks noGrp="1"/>
          </p:cNvSpPr>
          <p:nvPr>
            <p:ph sz="quarter" idx="10" hasCustomPrompt="1"/>
          </p:nvPr>
        </p:nvSpPr>
        <p:spPr>
          <a:xfrm>
            <a:off x="1585116" y="2356349"/>
            <a:ext cx="9021782" cy="1080120"/>
          </a:xfrm>
        </p:spPr>
        <p:txBody>
          <a:bodyPr/>
          <a:lstStyle>
            <a:lvl1pPr marL="0" indent="0" algn="ctr">
              <a:buNone/>
              <a:defRPr sz="28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”Sida för citat, inledning, sammanfattning, slutsats”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93043" y="6023290"/>
            <a:ext cx="1889016" cy="545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71285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itat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908" tIns="41454" rIns="82908" bIns="41454" rtlCol="0" anchor="ctr"/>
          <a:lstStyle/>
          <a:p>
            <a:pPr algn="ctr"/>
            <a:endParaRPr lang="sv-SE" sz="1799"/>
          </a:p>
        </p:txBody>
      </p:sp>
      <p:sp>
        <p:nvSpPr>
          <p:cNvPr id="4" name="Platshållare för bildnummer 5"/>
          <p:cNvSpPr txBox="1">
            <a:spLocks/>
          </p:cNvSpPr>
          <p:nvPr userDrawn="1"/>
        </p:nvSpPr>
        <p:spPr bwMode="auto">
          <a:xfrm>
            <a:off x="10431759" y="250834"/>
            <a:ext cx="720000" cy="225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sv-SE"/>
            </a:defPPr>
            <a:lvl1pPr algn="r" rtl="0" fontAlgn="base">
              <a:lnSpc>
                <a:spcPts val="1000"/>
              </a:lnSpc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r" defTabSz="829068" rtl="0" eaLnBrk="1" fontAlgn="base" latinLnBrk="0" hangingPunct="1">
              <a:lnSpc>
                <a:spcPts val="907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5DF6A3-71A4-4141-8675-DE14763EFB72}" type="slidenum">
              <a:rPr kumimoji="0" lang="sv-SE" sz="7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829068" rtl="0" eaLnBrk="1" fontAlgn="base" latinLnBrk="0" hangingPunct="1">
                <a:lnSpc>
                  <a:spcPts val="907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7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cxnSp>
        <p:nvCxnSpPr>
          <p:cNvPr id="5" name="Rak 4"/>
          <p:cNvCxnSpPr/>
          <p:nvPr userDrawn="1"/>
        </p:nvCxnSpPr>
        <p:spPr>
          <a:xfrm>
            <a:off x="1103453" y="476672"/>
            <a:ext cx="100811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Rak 5"/>
          <p:cNvCxnSpPr/>
          <p:nvPr userDrawn="1"/>
        </p:nvCxnSpPr>
        <p:spPr>
          <a:xfrm>
            <a:off x="1103453" y="5805265"/>
            <a:ext cx="1008112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innehåll 12"/>
          <p:cNvSpPr>
            <a:spLocks noGrp="1"/>
          </p:cNvSpPr>
          <p:nvPr>
            <p:ph sz="quarter" idx="10" hasCustomPrompt="1"/>
          </p:nvPr>
        </p:nvSpPr>
        <p:spPr>
          <a:xfrm>
            <a:off x="1296305" y="2276875"/>
            <a:ext cx="9495457" cy="1224136"/>
          </a:xfrm>
        </p:spPr>
        <p:txBody>
          <a:bodyPr/>
          <a:lstStyle>
            <a:lvl1pPr marL="0" indent="0" algn="ctr">
              <a:buNone/>
              <a:defRPr sz="2899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sz="2899" dirty="0"/>
              <a:t>”Sida för citat, inledning, sammanfattning, slutsats”</a:t>
            </a:r>
            <a:endParaRPr lang="sv-SE" dirty="0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93043" y="6023290"/>
            <a:ext cx="1889016" cy="545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01356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Områdessnur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5C963D08-D91D-7E4A-8C20-E07FB362F8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585A3CC-542C-2548-9667-C34554BD8095}" type="datetimeFigureOut">
              <a:rPr lang="sv-SE" smtClean="0"/>
              <a:pPr/>
              <a:t>2022-11-17</a:t>
            </a:fld>
            <a:endParaRPr lang="sv-SE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935A49E0-F0A7-414E-A3C9-08576496D4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00845" y="365125"/>
            <a:ext cx="5590309" cy="559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7877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 Energisys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15B4F4-530A-4D48-9842-71A0C6448D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402989" y="1701478"/>
            <a:ext cx="4663095" cy="1820059"/>
          </a:xfrm>
        </p:spPr>
        <p:txBody>
          <a:bodyPr anchor="ctr"/>
          <a:lstStyle>
            <a:lvl1pPr algn="l">
              <a:defRPr sz="6000">
                <a:solidFill>
                  <a:srgbClr val="DB6E03"/>
                </a:solidFill>
              </a:defRPr>
            </a:lvl1pPr>
          </a:lstStyle>
          <a:p>
            <a:r>
              <a:rPr lang="sv-SE" dirty="0"/>
              <a:t>Energisystem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37CE4E4-4E92-284A-B1D9-8F70B52FDA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79785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id="{EC9110EB-6E9F-B446-B85E-2528DD3D1A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25915" y="2042419"/>
            <a:ext cx="1138177" cy="1138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718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 Byggande &amp; bo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15B4F4-530A-4D48-9842-71A0C6448D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73917" y="1701478"/>
            <a:ext cx="7994083" cy="1820059"/>
          </a:xfrm>
        </p:spPr>
        <p:txBody>
          <a:bodyPr anchor="ctr"/>
          <a:lstStyle>
            <a:lvl1pPr algn="l">
              <a:defRPr sz="6000">
                <a:solidFill>
                  <a:srgbClr val="DB6E03"/>
                </a:solidFill>
              </a:defRPr>
            </a:lvl1pPr>
          </a:lstStyle>
          <a:p>
            <a:r>
              <a:rPr lang="sv-SE" dirty="0"/>
              <a:t>Byggande och boende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37CE4E4-4E92-284A-B1D9-8F70B52FDA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79785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1BAF0F15-D27A-064D-A9A3-8ED370BC61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89128" y="2042417"/>
            <a:ext cx="1145893" cy="114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5873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 Produk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15B4F4-530A-4D48-9842-71A0C6448D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71289" y="1701478"/>
            <a:ext cx="3926495" cy="1820059"/>
          </a:xfrm>
        </p:spPr>
        <p:txBody>
          <a:bodyPr anchor="ctr"/>
          <a:lstStyle>
            <a:lvl1pPr algn="l">
              <a:defRPr sz="6000">
                <a:solidFill>
                  <a:srgbClr val="DB6E03"/>
                </a:solidFill>
              </a:defRPr>
            </a:lvl1pPr>
          </a:lstStyle>
          <a:p>
            <a:r>
              <a:rPr lang="sv-SE" dirty="0"/>
              <a:t>Produktion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37CE4E4-4E92-284A-B1D9-8F70B52FDA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79785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25D07CB7-8990-F14A-BA6D-674D53E5A9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94215" y="2042420"/>
            <a:ext cx="1138176" cy="1138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4958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 Transpor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15B4F4-530A-4D48-9842-71A0C6448D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675181" y="1701478"/>
            <a:ext cx="4118711" cy="1820059"/>
          </a:xfrm>
        </p:spPr>
        <p:txBody>
          <a:bodyPr anchor="ctr"/>
          <a:lstStyle>
            <a:lvl1pPr algn="l">
              <a:defRPr sz="6000">
                <a:solidFill>
                  <a:srgbClr val="DB6E03"/>
                </a:solidFill>
              </a:defRPr>
            </a:lvl1pPr>
          </a:lstStyle>
          <a:p>
            <a:r>
              <a:rPr lang="sv-SE" dirty="0"/>
              <a:t>Transport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37CE4E4-4E92-284A-B1D9-8F70B52FDA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79785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FEB04194-9554-EF4E-A58A-50574DEBF89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398107" y="2042420"/>
            <a:ext cx="1138176" cy="1138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9987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 Jord- och skogsbru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15B4F4-530A-4D48-9842-71A0C6448D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233301" y="1701478"/>
            <a:ext cx="7002469" cy="1820059"/>
          </a:xfrm>
        </p:spPr>
        <p:txBody>
          <a:bodyPr anchor="ctr"/>
          <a:lstStyle>
            <a:lvl1pPr algn="l">
              <a:defRPr sz="6000">
                <a:solidFill>
                  <a:srgbClr val="DB6E03"/>
                </a:solidFill>
              </a:defRPr>
            </a:lvl1pPr>
          </a:lstStyle>
          <a:p>
            <a:r>
              <a:rPr lang="sv-SE" dirty="0"/>
              <a:t>Jord- och skogsbruk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37CE4E4-4E92-284A-B1D9-8F70B52FDA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79785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  <a:endParaRPr lang="sv-SE" dirty="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F4E8DA86-09EE-B843-AA14-004BAA5798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956228" y="2042420"/>
            <a:ext cx="1138176" cy="1138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1471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23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17.png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48060DF-E935-274B-965A-AA6919898530}"/>
              </a:ext>
            </a:extLst>
          </p:cNvPr>
          <p:cNvSpPr/>
          <p:nvPr userDrawn="1"/>
        </p:nvSpPr>
        <p:spPr>
          <a:xfrm>
            <a:off x="-1" y="6176963"/>
            <a:ext cx="12192001" cy="681037"/>
          </a:xfrm>
          <a:prstGeom prst="rect">
            <a:avLst/>
          </a:prstGeom>
          <a:solidFill>
            <a:srgbClr val="F8E2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475B3A3B-950D-AD43-AE1F-CF6AB32FD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841828B3-A04F-7D49-8ABA-E63B29B463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81A8D9C-88B0-EC46-A4C2-EA2576FC30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9585A3CC-542C-2548-9667-C34554BD8095}" type="datetimeFigureOut">
              <a:rPr lang="sv-SE" smtClean="0"/>
              <a:pPr/>
              <a:t>2022-11-17</a:t>
            </a:fld>
            <a:endParaRPr lang="sv-SE" dirty="0"/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37FD1550-0A41-E64F-BAB0-4B908E6B1554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10290314" y="5363127"/>
            <a:ext cx="1358348" cy="1358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202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64" r:id="rId3"/>
    <p:sldLayoutId id="214748365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50" r:id="rId12"/>
    <p:sldLayoutId id="2147483663" r:id="rId13"/>
    <p:sldLayoutId id="2147483656" r:id="rId14"/>
    <p:sldLayoutId id="2147483657" r:id="rId15"/>
    <p:sldLayoutId id="2147483658" r:id="rId16"/>
    <p:sldLayoutId id="2147483659" r:id="rId17"/>
    <p:sldLayoutId id="2147483660" r:id="rId18"/>
    <p:sldLayoutId id="2147483661" r:id="rId19"/>
    <p:sldLayoutId id="2147483662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rgbClr val="DB6E03"/>
          </a:solidFill>
          <a:latin typeface="Eras Medium ITC" panose="020B0602030504020804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103810" y="250827"/>
            <a:ext cx="1439750" cy="225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1191"/>
              </a:lnSpc>
              <a:defRPr sz="1000">
                <a:solidFill>
                  <a:schemeClr val="tx1"/>
                </a:solidFill>
              </a:defRPr>
            </a:lvl1pPr>
          </a:lstStyle>
          <a:p>
            <a:r>
              <a:rPr lang="sv-SE">
                <a:solidFill>
                  <a:srgbClr val="333333"/>
                </a:solidFill>
              </a:rPr>
              <a:t>2013-03-19</a:t>
            </a:r>
            <a:endParaRPr lang="sv-SE" dirty="0">
              <a:solidFill>
                <a:srgbClr val="333333"/>
              </a:solidFill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03809" y="684000"/>
            <a:ext cx="10078249" cy="10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/>
              <a:t>Klicka här för att ändra format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03809" y="2088000"/>
            <a:ext cx="10078249" cy="37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/>
              <a:t>Klicka här för att ändra format på </a:t>
            </a:r>
            <a:br>
              <a:rPr lang="sv-SE" dirty="0"/>
            </a:br>
            <a:r>
              <a:rPr lang="sv-SE" dirty="0"/>
              <a:t>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736210" y="250827"/>
            <a:ext cx="7198749" cy="225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1191"/>
              </a:lnSpc>
              <a:defRPr sz="1000">
                <a:solidFill>
                  <a:schemeClr val="tx1"/>
                </a:solidFill>
              </a:defRPr>
            </a:lvl1pPr>
          </a:lstStyle>
          <a:p>
            <a:r>
              <a:rPr lang="sv-SE">
                <a:solidFill>
                  <a:srgbClr val="333333"/>
                </a:solidFill>
              </a:rPr>
              <a:t>Åsa Boholm</a:t>
            </a:r>
            <a:endParaRPr lang="sv-SE" dirty="0">
              <a:solidFill>
                <a:srgbClr val="333333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429946" y="250827"/>
            <a:ext cx="719875" cy="225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ts val="1191"/>
              </a:lnSpc>
              <a:defRPr sz="1000">
                <a:solidFill>
                  <a:schemeClr val="tx1"/>
                </a:solidFill>
              </a:defRPr>
            </a:lvl1pPr>
          </a:lstStyle>
          <a:p>
            <a:fld id="{6C25F9FA-A9E7-4A9D-84E9-B8BC8462A9FF}" type="slidenum">
              <a:rPr lang="sv-SE" smtClean="0">
                <a:solidFill>
                  <a:srgbClr val="333333"/>
                </a:solidFill>
              </a:rPr>
              <a:pPr/>
              <a:t>‹#›</a:t>
            </a:fld>
            <a:endParaRPr lang="sv-SE">
              <a:solidFill>
                <a:srgbClr val="333333"/>
              </a:solidFill>
            </a:endParaRPr>
          </a:p>
        </p:txBody>
      </p:sp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1103809" y="468000"/>
            <a:ext cx="10078249" cy="1588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825" tIns="54413" rIns="108825" bIns="54413"/>
          <a:lstStyle/>
          <a:p>
            <a:endParaRPr lang="sv-SE" sz="1799">
              <a:solidFill>
                <a:srgbClr val="333333"/>
              </a:solidFill>
            </a:endParaRPr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 flipV="1">
            <a:off x="1104312" y="5797587"/>
            <a:ext cx="10077746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825" tIns="54413" rIns="108825" bIns="54413"/>
          <a:lstStyle/>
          <a:p>
            <a:endParaRPr lang="sv-SE" sz="1799">
              <a:solidFill>
                <a:srgbClr val="333333"/>
              </a:solidFill>
            </a:endParaRPr>
          </a:p>
        </p:txBody>
      </p:sp>
      <p:pic>
        <p:nvPicPr>
          <p:cNvPr id="10" name="Picture 2" descr="\\svk.local\adminroot\Userdata\erva\Desktop\logo_liggande_76-160mm150dpi_black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4985" y="6113006"/>
            <a:ext cx="2017637" cy="440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0597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799" cap="none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99">
          <a:solidFill>
            <a:srgbClr val="565656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99">
          <a:solidFill>
            <a:srgbClr val="565656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99">
          <a:solidFill>
            <a:srgbClr val="565656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99">
          <a:solidFill>
            <a:srgbClr val="565656"/>
          </a:solidFill>
          <a:latin typeface="Arial" charset="0"/>
          <a:cs typeface="Arial" charset="0"/>
        </a:defRPr>
      </a:lvl5pPr>
      <a:lvl6pPr marL="544106" algn="l" rtl="0" eaLnBrk="1" fontAlgn="base" hangingPunct="1">
        <a:spcBef>
          <a:spcPct val="0"/>
        </a:spcBef>
        <a:spcAft>
          <a:spcPct val="0"/>
        </a:spcAft>
        <a:defRPr sz="3699">
          <a:solidFill>
            <a:srgbClr val="565656"/>
          </a:solidFill>
          <a:latin typeface="Arial" charset="0"/>
          <a:cs typeface="Arial" charset="0"/>
        </a:defRPr>
      </a:lvl6pPr>
      <a:lvl7pPr marL="1088212" algn="l" rtl="0" eaLnBrk="1" fontAlgn="base" hangingPunct="1">
        <a:spcBef>
          <a:spcPct val="0"/>
        </a:spcBef>
        <a:spcAft>
          <a:spcPct val="0"/>
        </a:spcAft>
        <a:defRPr sz="3699">
          <a:solidFill>
            <a:srgbClr val="565656"/>
          </a:solidFill>
          <a:latin typeface="Arial" charset="0"/>
          <a:cs typeface="Arial" charset="0"/>
        </a:defRPr>
      </a:lvl7pPr>
      <a:lvl8pPr marL="1632318" algn="l" rtl="0" eaLnBrk="1" fontAlgn="base" hangingPunct="1">
        <a:spcBef>
          <a:spcPct val="0"/>
        </a:spcBef>
        <a:spcAft>
          <a:spcPct val="0"/>
        </a:spcAft>
        <a:defRPr sz="3699">
          <a:solidFill>
            <a:srgbClr val="565656"/>
          </a:solidFill>
          <a:latin typeface="Arial" charset="0"/>
          <a:cs typeface="Arial" charset="0"/>
        </a:defRPr>
      </a:lvl8pPr>
      <a:lvl9pPr marL="2176423" algn="l" rtl="0" eaLnBrk="1" fontAlgn="base" hangingPunct="1">
        <a:spcBef>
          <a:spcPct val="0"/>
        </a:spcBef>
        <a:spcAft>
          <a:spcPct val="0"/>
        </a:spcAft>
        <a:defRPr sz="3699">
          <a:solidFill>
            <a:srgbClr val="565656"/>
          </a:solidFill>
          <a:latin typeface="Arial" charset="0"/>
          <a:cs typeface="Arial" charset="0"/>
        </a:defRPr>
      </a:lvl9pPr>
    </p:titleStyle>
    <p:bodyStyle>
      <a:lvl1pPr marL="423193" indent="-423193" algn="l" rtl="0" eaLnBrk="1" fontAlgn="base" hangingPunct="1">
        <a:spcBef>
          <a:spcPct val="0"/>
        </a:spcBef>
        <a:spcAft>
          <a:spcPct val="100000"/>
        </a:spcAft>
        <a:buClrTx/>
        <a:buFont typeface="Arial" charset="0"/>
        <a:buChar char="&gt;"/>
        <a:defRPr sz="2399">
          <a:solidFill>
            <a:schemeClr val="tx1"/>
          </a:solidFill>
          <a:latin typeface="+mn-lt"/>
          <a:ea typeface="+mn-ea"/>
          <a:cs typeface="+mn-cs"/>
        </a:defRPr>
      </a:lvl1pPr>
      <a:lvl2pPr marL="740588" indent="-315507" algn="l" rtl="0" eaLnBrk="1" fontAlgn="base" hangingPunct="1">
        <a:spcBef>
          <a:spcPct val="0"/>
        </a:spcBef>
        <a:spcAft>
          <a:spcPct val="100000"/>
        </a:spcAft>
        <a:buClrTx/>
        <a:buFont typeface="Arial" charset="0"/>
        <a:buChar char="&gt;"/>
        <a:defRPr sz="1799">
          <a:solidFill>
            <a:schemeClr val="tx1"/>
          </a:solidFill>
          <a:latin typeface="+mn-lt"/>
          <a:cs typeface="+mn-cs"/>
        </a:defRPr>
      </a:lvl2pPr>
      <a:lvl3pPr marL="1027756" indent="-285278" algn="l" rtl="0" eaLnBrk="1" fontAlgn="base" hangingPunct="1">
        <a:spcBef>
          <a:spcPct val="0"/>
        </a:spcBef>
        <a:spcAft>
          <a:spcPct val="100000"/>
        </a:spcAft>
        <a:buClrTx/>
        <a:buFont typeface="Arial" charset="0"/>
        <a:buChar char="&gt;"/>
        <a:defRPr sz="1799">
          <a:solidFill>
            <a:schemeClr val="tx1"/>
          </a:solidFill>
          <a:latin typeface="+mn-lt"/>
          <a:cs typeface="+mn-cs"/>
        </a:defRPr>
      </a:lvl3pPr>
      <a:lvl4pPr marL="1330037" indent="-300392" algn="l" rtl="0" eaLnBrk="1" fontAlgn="base" hangingPunct="1">
        <a:spcBef>
          <a:spcPct val="0"/>
        </a:spcBef>
        <a:spcAft>
          <a:spcPct val="100000"/>
        </a:spcAft>
        <a:buClrTx/>
        <a:buFont typeface="Arial" charset="0"/>
        <a:buChar char="&gt;"/>
        <a:defRPr sz="1799">
          <a:solidFill>
            <a:schemeClr val="tx1"/>
          </a:solidFill>
          <a:latin typeface="+mn-lt"/>
          <a:cs typeface="+mn-cs"/>
        </a:defRPr>
      </a:lvl4pPr>
      <a:lvl5pPr marL="1602090" indent="-270165" algn="l" rtl="0" eaLnBrk="1" fontAlgn="base" hangingPunct="1">
        <a:spcBef>
          <a:spcPct val="0"/>
        </a:spcBef>
        <a:spcAft>
          <a:spcPct val="100000"/>
        </a:spcAft>
        <a:buClrTx/>
        <a:buFont typeface="Arial" charset="0"/>
        <a:buChar char="&gt;"/>
        <a:defRPr sz="1799">
          <a:solidFill>
            <a:schemeClr val="tx1"/>
          </a:solidFill>
          <a:latin typeface="+mn-lt"/>
          <a:cs typeface="+mn-cs"/>
        </a:defRPr>
      </a:lvl5pPr>
      <a:lvl6pPr marL="2146196" indent="-270165" algn="l" rtl="0" eaLnBrk="1" fontAlgn="base" hangingPunct="1">
        <a:spcBef>
          <a:spcPct val="0"/>
        </a:spcBef>
        <a:spcAft>
          <a:spcPct val="100000"/>
        </a:spcAft>
        <a:buClr>
          <a:schemeClr val="tx1"/>
        </a:buClr>
        <a:buFont typeface="Arial" charset="0"/>
        <a:buChar char="&gt;"/>
        <a:defRPr sz="1500">
          <a:solidFill>
            <a:srgbClr val="565656"/>
          </a:solidFill>
          <a:latin typeface="+mn-lt"/>
          <a:cs typeface="+mn-cs"/>
        </a:defRPr>
      </a:lvl6pPr>
      <a:lvl7pPr marL="2690303" indent="-270165" algn="l" rtl="0" eaLnBrk="1" fontAlgn="base" hangingPunct="1">
        <a:spcBef>
          <a:spcPct val="0"/>
        </a:spcBef>
        <a:spcAft>
          <a:spcPct val="100000"/>
        </a:spcAft>
        <a:buClr>
          <a:schemeClr val="tx1"/>
        </a:buClr>
        <a:buFont typeface="Arial" charset="0"/>
        <a:buChar char="&gt;"/>
        <a:defRPr sz="1500">
          <a:solidFill>
            <a:srgbClr val="565656"/>
          </a:solidFill>
          <a:latin typeface="+mn-lt"/>
          <a:cs typeface="+mn-cs"/>
        </a:defRPr>
      </a:lvl7pPr>
      <a:lvl8pPr marL="3234408" indent="-270165" algn="l" rtl="0" eaLnBrk="1" fontAlgn="base" hangingPunct="1">
        <a:spcBef>
          <a:spcPct val="0"/>
        </a:spcBef>
        <a:spcAft>
          <a:spcPct val="100000"/>
        </a:spcAft>
        <a:buClr>
          <a:schemeClr val="tx1"/>
        </a:buClr>
        <a:buFont typeface="Arial" charset="0"/>
        <a:buChar char="&gt;"/>
        <a:defRPr sz="1500">
          <a:solidFill>
            <a:srgbClr val="565656"/>
          </a:solidFill>
          <a:latin typeface="+mn-lt"/>
          <a:cs typeface="+mn-cs"/>
        </a:defRPr>
      </a:lvl8pPr>
      <a:lvl9pPr marL="3778514" indent="-270165" algn="l" rtl="0" eaLnBrk="1" fontAlgn="base" hangingPunct="1">
        <a:spcBef>
          <a:spcPct val="0"/>
        </a:spcBef>
        <a:spcAft>
          <a:spcPct val="100000"/>
        </a:spcAft>
        <a:buClr>
          <a:schemeClr val="tx1"/>
        </a:buClr>
        <a:buFont typeface="Arial" charset="0"/>
        <a:buChar char="&gt;"/>
        <a:defRPr sz="1500">
          <a:solidFill>
            <a:srgbClr val="565656"/>
          </a:solidFill>
          <a:latin typeface="+mn-lt"/>
          <a:cs typeface="+mn-cs"/>
        </a:defRPr>
      </a:lvl9pPr>
    </p:bodyStyle>
    <p:otherStyle>
      <a:defPPr>
        <a:defRPr lang="sv-SE"/>
      </a:defPPr>
      <a:lvl1pPr marL="0" algn="l" defTabSz="1088212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106" algn="l" defTabSz="1088212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212" algn="l" defTabSz="1088212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318" algn="l" defTabSz="1088212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423" algn="l" defTabSz="1088212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0531" algn="l" defTabSz="1088212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4636" algn="l" defTabSz="1088212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8742" algn="l" defTabSz="1088212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2849" algn="l" defTabSz="1088212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113483" y="250834"/>
            <a:ext cx="1439749" cy="225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907"/>
              </a:lnSpc>
              <a:defRPr sz="70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03811" y="684000"/>
            <a:ext cx="10078249" cy="10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/>
              <a:t>Klicka här för att ändra format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03811" y="2088004"/>
            <a:ext cx="10078249" cy="37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/>
              <a:t>Klicka här för att ändra format på </a:t>
            </a:r>
            <a:br>
              <a:rPr lang="sv-SE" dirty="0"/>
            </a:br>
            <a:r>
              <a:rPr lang="sv-SE" dirty="0"/>
              <a:t>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736212" y="250834"/>
            <a:ext cx="7198748" cy="225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907"/>
              </a:lnSpc>
              <a:defRPr sz="70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429948" y="250834"/>
            <a:ext cx="719876" cy="225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ts val="907"/>
              </a:lnSpc>
              <a:defRPr sz="700">
                <a:solidFill>
                  <a:schemeClr val="tx1"/>
                </a:solidFill>
              </a:defRPr>
            </a:lvl1pPr>
          </a:lstStyle>
          <a:p>
            <a:fld id="{6C25F9FA-A9E7-4A9D-84E9-B8BC8462A9FF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1103811" y="468004"/>
            <a:ext cx="10078249" cy="1588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908" tIns="41454" rIns="82908" bIns="41454"/>
          <a:lstStyle/>
          <a:p>
            <a:endParaRPr lang="sv-SE" sz="1799"/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 flipV="1">
            <a:off x="1104317" y="5797587"/>
            <a:ext cx="10077746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908" tIns="41454" rIns="82908" bIns="41454"/>
          <a:lstStyle/>
          <a:p>
            <a:endParaRPr lang="sv-SE" sz="1799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93043" y="6021295"/>
            <a:ext cx="1889016" cy="54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517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99" cap="none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5pPr>
      <a:lvl6pPr marL="414535"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6pPr>
      <a:lvl7pPr marL="829068"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7pPr>
      <a:lvl8pPr marL="1243603"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8pPr>
      <a:lvl9pPr marL="1658139"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9pPr>
    </p:titleStyle>
    <p:bodyStyle>
      <a:lvl1pPr marL="322414" indent="-322414" algn="l" rtl="0" eaLnBrk="1" fontAlgn="base" hangingPunct="1">
        <a:spcBef>
          <a:spcPct val="0"/>
        </a:spcBef>
        <a:spcAft>
          <a:spcPct val="100000"/>
        </a:spcAft>
        <a:buClrTx/>
        <a:buFont typeface="Arial" charset="0"/>
        <a:buChar char="&gt;"/>
        <a:defRPr sz="1799">
          <a:solidFill>
            <a:schemeClr val="tx1"/>
          </a:solidFill>
          <a:latin typeface="+mn-lt"/>
          <a:ea typeface="+mn-ea"/>
          <a:cs typeface="+mn-cs"/>
        </a:defRPr>
      </a:lvl1pPr>
      <a:lvl2pPr marL="564227" indent="-240373" algn="l" rtl="0" eaLnBrk="1" fontAlgn="base" hangingPunct="1">
        <a:spcBef>
          <a:spcPct val="0"/>
        </a:spcBef>
        <a:spcAft>
          <a:spcPct val="100000"/>
        </a:spcAft>
        <a:buClrTx/>
        <a:buFont typeface="Arial" charset="0"/>
        <a:buChar char="&gt;"/>
        <a:defRPr sz="1300">
          <a:solidFill>
            <a:schemeClr val="tx1"/>
          </a:solidFill>
          <a:latin typeface="+mn-lt"/>
          <a:cs typeface="+mn-cs"/>
        </a:defRPr>
      </a:lvl2pPr>
      <a:lvl3pPr marL="783011" indent="-217344" algn="l" rtl="0" eaLnBrk="1" fontAlgn="base" hangingPunct="1">
        <a:spcBef>
          <a:spcPct val="0"/>
        </a:spcBef>
        <a:spcAft>
          <a:spcPct val="100000"/>
        </a:spcAft>
        <a:buClrTx/>
        <a:buFont typeface="Arial" charset="0"/>
        <a:buChar char="&gt;"/>
        <a:defRPr sz="1300">
          <a:solidFill>
            <a:schemeClr val="tx1"/>
          </a:solidFill>
          <a:latin typeface="+mn-lt"/>
          <a:cs typeface="+mn-cs"/>
        </a:defRPr>
      </a:lvl3pPr>
      <a:lvl4pPr marL="1013309" indent="-228858" algn="l" rtl="0" eaLnBrk="1" fontAlgn="base" hangingPunct="1">
        <a:spcBef>
          <a:spcPct val="0"/>
        </a:spcBef>
        <a:spcAft>
          <a:spcPct val="100000"/>
        </a:spcAft>
        <a:buClrTx/>
        <a:buFont typeface="Arial" charset="0"/>
        <a:buChar char="&gt;"/>
        <a:defRPr sz="1300">
          <a:solidFill>
            <a:schemeClr val="tx1"/>
          </a:solidFill>
          <a:latin typeface="+mn-lt"/>
          <a:cs typeface="+mn-cs"/>
        </a:defRPr>
      </a:lvl4pPr>
      <a:lvl5pPr marL="1220575" indent="-205827" algn="l" rtl="0" eaLnBrk="1" fontAlgn="base" hangingPunct="1">
        <a:spcBef>
          <a:spcPct val="0"/>
        </a:spcBef>
        <a:spcAft>
          <a:spcPct val="100000"/>
        </a:spcAft>
        <a:buClrTx/>
        <a:buFont typeface="Arial" charset="0"/>
        <a:buChar char="&gt;"/>
        <a:defRPr sz="1300">
          <a:solidFill>
            <a:schemeClr val="tx1"/>
          </a:solidFill>
          <a:latin typeface="+mn-lt"/>
          <a:cs typeface="+mn-cs"/>
        </a:defRPr>
      </a:lvl5pPr>
      <a:lvl6pPr marL="1635108" indent="-205827" algn="l" rtl="0" eaLnBrk="1" fontAlgn="base" hangingPunct="1">
        <a:spcBef>
          <a:spcPct val="0"/>
        </a:spcBef>
        <a:spcAft>
          <a:spcPct val="100000"/>
        </a:spcAft>
        <a:buClr>
          <a:schemeClr val="tx1"/>
        </a:buClr>
        <a:buFont typeface="Arial" charset="0"/>
        <a:buChar char="&gt;"/>
        <a:defRPr sz="1200">
          <a:solidFill>
            <a:srgbClr val="565656"/>
          </a:solidFill>
          <a:latin typeface="+mn-lt"/>
          <a:cs typeface="+mn-cs"/>
        </a:defRPr>
      </a:lvl6pPr>
      <a:lvl7pPr marL="2049644" indent="-205827" algn="l" rtl="0" eaLnBrk="1" fontAlgn="base" hangingPunct="1">
        <a:spcBef>
          <a:spcPct val="0"/>
        </a:spcBef>
        <a:spcAft>
          <a:spcPct val="100000"/>
        </a:spcAft>
        <a:buClr>
          <a:schemeClr val="tx1"/>
        </a:buClr>
        <a:buFont typeface="Arial" charset="0"/>
        <a:buChar char="&gt;"/>
        <a:defRPr sz="1200">
          <a:solidFill>
            <a:srgbClr val="565656"/>
          </a:solidFill>
          <a:latin typeface="+mn-lt"/>
          <a:cs typeface="+mn-cs"/>
        </a:defRPr>
      </a:lvl7pPr>
      <a:lvl8pPr marL="2464177" indent="-205827" algn="l" rtl="0" eaLnBrk="1" fontAlgn="base" hangingPunct="1">
        <a:spcBef>
          <a:spcPct val="0"/>
        </a:spcBef>
        <a:spcAft>
          <a:spcPct val="100000"/>
        </a:spcAft>
        <a:buClr>
          <a:schemeClr val="tx1"/>
        </a:buClr>
        <a:buFont typeface="Arial" charset="0"/>
        <a:buChar char="&gt;"/>
        <a:defRPr sz="1200">
          <a:solidFill>
            <a:srgbClr val="565656"/>
          </a:solidFill>
          <a:latin typeface="+mn-lt"/>
          <a:cs typeface="+mn-cs"/>
        </a:defRPr>
      </a:lvl8pPr>
      <a:lvl9pPr marL="2878713" indent="-205827" algn="l" rtl="0" eaLnBrk="1" fontAlgn="base" hangingPunct="1">
        <a:spcBef>
          <a:spcPct val="0"/>
        </a:spcBef>
        <a:spcAft>
          <a:spcPct val="100000"/>
        </a:spcAft>
        <a:buClr>
          <a:schemeClr val="tx1"/>
        </a:buClr>
        <a:buFont typeface="Arial" charset="0"/>
        <a:buChar char="&gt;"/>
        <a:defRPr sz="1200">
          <a:solidFill>
            <a:srgbClr val="565656"/>
          </a:solidFill>
          <a:latin typeface="+mn-lt"/>
          <a:cs typeface="+mn-cs"/>
        </a:defRPr>
      </a:lvl9pPr>
    </p:bodyStyle>
    <p:otherStyle>
      <a:defPPr>
        <a:defRPr lang="sv-SE"/>
      </a:defPPr>
      <a:lvl1pPr marL="0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535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068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3603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139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2672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7209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1743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6276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113483" y="250834"/>
            <a:ext cx="1439749" cy="225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907"/>
              </a:lnSpc>
              <a:defRPr sz="70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03811" y="684000"/>
            <a:ext cx="10078249" cy="10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/>
              <a:t>Klicka här för att ändra format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03811" y="2088004"/>
            <a:ext cx="10078249" cy="37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dirty="0"/>
              <a:t>Klicka här för att ändra format på </a:t>
            </a:r>
            <a:br>
              <a:rPr lang="sv-SE" dirty="0"/>
            </a:br>
            <a:r>
              <a:rPr lang="sv-SE" dirty="0"/>
              <a:t>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736212" y="250834"/>
            <a:ext cx="7198748" cy="225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907"/>
              </a:lnSpc>
              <a:defRPr sz="70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429948" y="250834"/>
            <a:ext cx="719876" cy="225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ts val="907"/>
              </a:lnSpc>
              <a:defRPr sz="700">
                <a:solidFill>
                  <a:schemeClr val="tx1"/>
                </a:solidFill>
              </a:defRPr>
            </a:lvl1pPr>
          </a:lstStyle>
          <a:p>
            <a:fld id="{6C25F9FA-A9E7-4A9D-84E9-B8BC8462A9FF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31" name="Line 7"/>
          <p:cNvSpPr>
            <a:spLocks noChangeShapeType="1"/>
          </p:cNvSpPr>
          <p:nvPr/>
        </p:nvSpPr>
        <p:spPr bwMode="auto">
          <a:xfrm>
            <a:off x="1103811" y="468004"/>
            <a:ext cx="10078249" cy="1588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908" tIns="41454" rIns="82908" bIns="41454"/>
          <a:lstStyle/>
          <a:p>
            <a:endParaRPr lang="sv-SE" sz="1799"/>
          </a:p>
        </p:txBody>
      </p:sp>
      <p:sp>
        <p:nvSpPr>
          <p:cNvPr id="1033" name="Line 9"/>
          <p:cNvSpPr>
            <a:spLocks noChangeShapeType="1"/>
          </p:cNvSpPr>
          <p:nvPr/>
        </p:nvSpPr>
        <p:spPr bwMode="auto">
          <a:xfrm flipV="1">
            <a:off x="1104317" y="5797587"/>
            <a:ext cx="10077746" cy="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908" tIns="41454" rIns="82908" bIns="41454"/>
          <a:lstStyle/>
          <a:p>
            <a:endParaRPr lang="sv-SE" sz="1799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93043" y="6021295"/>
            <a:ext cx="1889016" cy="549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74334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899" cap="none" baseline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5pPr>
      <a:lvl6pPr marL="414535"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6pPr>
      <a:lvl7pPr marL="829068"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7pPr>
      <a:lvl8pPr marL="1243603"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8pPr>
      <a:lvl9pPr marL="1658139" algn="l" rtl="0" eaLnBrk="1" fontAlgn="base" hangingPunct="1">
        <a:spcBef>
          <a:spcPct val="0"/>
        </a:spcBef>
        <a:spcAft>
          <a:spcPct val="0"/>
        </a:spcAft>
        <a:defRPr sz="2799">
          <a:solidFill>
            <a:srgbClr val="565656"/>
          </a:solidFill>
          <a:latin typeface="Arial" charset="0"/>
          <a:cs typeface="Arial" charset="0"/>
        </a:defRPr>
      </a:lvl9pPr>
    </p:titleStyle>
    <p:bodyStyle>
      <a:lvl1pPr marL="322414" indent="-322414" algn="l" rtl="0" eaLnBrk="1" fontAlgn="base" hangingPunct="1">
        <a:spcBef>
          <a:spcPct val="0"/>
        </a:spcBef>
        <a:spcAft>
          <a:spcPct val="100000"/>
        </a:spcAft>
        <a:buClrTx/>
        <a:buFont typeface="Arial" charset="0"/>
        <a:buChar char="&gt;"/>
        <a:defRPr sz="1799">
          <a:solidFill>
            <a:schemeClr val="tx1"/>
          </a:solidFill>
          <a:latin typeface="+mn-lt"/>
          <a:ea typeface="+mn-ea"/>
          <a:cs typeface="+mn-cs"/>
        </a:defRPr>
      </a:lvl1pPr>
      <a:lvl2pPr marL="564227" indent="-240373" algn="l" rtl="0" eaLnBrk="1" fontAlgn="base" hangingPunct="1">
        <a:spcBef>
          <a:spcPct val="0"/>
        </a:spcBef>
        <a:spcAft>
          <a:spcPct val="100000"/>
        </a:spcAft>
        <a:buClrTx/>
        <a:buFont typeface="Arial" charset="0"/>
        <a:buChar char="&gt;"/>
        <a:defRPr sz="1300">
          <a:solidFill>
            <a:schemeClr val="tx1"/>
          </a:solidFill>
          <a:latin typeface="+mn-lt"/>
          <a:cs typeface="+mn-cs"/>
        </a:defRPr>
      </a:lvl2pPr>
      <a:lvl3pPr marL="783011" indent="-217344" algn="l" rtl="0" eaLnBrk="1" fontAlgn="base" hangingPunct="1">
        <a:spcBef>
          <a:spcPct val="0"/>
        </a:spcBef>
        <a:spcAft>
          <a:spcPct val="100000"/>
        </a:spcAft>
        <a:buClrTx/>
        <a:buFont typeface="Arial" charset="0"/>
        <a:buChar char="&gt;"/>
        <a:defRPr sz="1300">
          <a:solidFill>
            <a:schemeClr val="tx1"/>
          </a:solidFill>
          <a:latin typeface="+mn-lt"/>
          <a:cs typeface="+mn-cs"/>
        </a:defRPr>
      </a:lvl3pPr>
      <a:lvl4pPr marL="1013309" indent="-228858" algn="l" rtl="0" eaLnBrk="1" fontAlgn="base" hangingPunct="1">
        <a:spcBef>
          <a:spcPct val="0"/>
        </a:spcBef>
        <a:spcAft>
          <a:spcPct val="100000"/>
        </a:spcAft>
        <a:buClrTx/>
        <a:buFont typeface="Arial" charset="0"/>
        <a:buChar char="&gt;"/>
        <a:defRPr sz="1300">
          <a:solidFill>
            <a:schemeClr val="tx1"/>
          </a:solidFill>
          <a:latin typeface="+mn-lt"/>
          <a:cs typeface="+mn-cs"/>
        </a:defRPr>
      </a:lvl4pPr>
      <a:lvl5pPr marL="1220575" indent="-205827" algn="l" rtl="0" eaLnBrk="1" fontAlgn="base" hangingPunct="1">
        <a:spcBef>
          <a:spcPct val="0"/>
        </a:spcBef>
        <a:spcAft>
          <a:spcPct val="100000"/>
        </a:spcAft>
        <a:buClrTx/>
        <a:buFont typeface="Arial" charset="0"/>
        <a:buChar char="&gt;"/>
        <a:defRPr sz="1300">
          <a:solidFill>
            <a:schemeClr val="tx1"/>
          </a:solidFill>
          <a:latin typeface="+mn-lt"/>
          <a:cs typeface="+mn-cs"/>
        </a:defRPr>
      </a:lvl5pPr>
      <a:lvl6pPr marL="1635108" indent="-205827" algn="l" rtl="0" eaLnBrk="1" fontAlgn="base" hangingPunct="1">
        <a:spcBef>
          <a:spcPct val="0"/>
        </a:spcBef>
        <a:spcAft>
          <a:spcPct val="100000"/>
        </a:spcAft>
        <a:buClr>
          <a:schemeClr val="tx1"/>
        </a:buClr>
        <a:buFont typeface="Arial" charset="0"/>
        <a:buChar char="&gt;"/>
        <a:defRPr sz="1200">
          <a:solidFill>
            <a:srgbClr val="565656"/>
          </a:solidFill>
          <a:latin typeface="+mn-lt"/>
          <a:cs typeface="+mn-cs"/>
        </a:defRPr>
      </a:lvl6pPr>
      <a:lvl7pPr marL="2049644" indent="-205827" algn="l" rtl="0" eaLnBrk="1" fontAlgn="base" hangingPunct="1">
        <a:spcBef>
          <a:spcPct val="0"/>
        </a:spcBef>
        <a:spcAft>
          <a:spcPct val="100000"/>
        </a:spcAft>
        <a:buClr>
          <a:schemeClr val="tx1"/>
        </a:buClr>
        <a:buFont typeface="Arial" charset="0"/>
        <a:buChar char="&gt;"/>
        <a:defRPr sz="1200">
          <a:solidFill>
            <a:srgbClr val="565656"/>
          </a:solidFill>
          <a:latin typeface="+mn-lt"/>
          <a:cs typeface="+mn-cs"/>
        </a:defRPr>
      </a:lvl7pPr>
      <a:lvl8pPr marL="2464177" indent="-205827" algn="l" rtl="0" eaLnBrk="1" fontAlgn="base" hangingPunct="1">
        <a:spcBef>
          <a:spcPct val="0"/>
        </a:spcBef>
        <a:spcAft>
          <a:spcPct val="100000"/>
        </a:spcAft>
        <a:buClr>
          <a:schemeClr val="tx1"/>
        </a:buClr>
        <a:buFont typeface="Arial" charset="0"/>
        <a:buChar char="&gt;"/>
        <a:defRPr sz="1200">
          <a:solidFill>
            <a:srgbClr val="565656"/>
          </a:solidFill>
          <a:latin typeface="+mn-lt"/>
          <a:cs typeface="+mn-cs"/>
        </a:defRPr>
      </a:lvl8pPr>
      <a:lvl9pPr marL="2878713" indent="-205827" algn="l" rtl="0" eaLnBrk="1" fontAlgn="base" hangingPunct="1">
        <a:spcBef>
          <a:spcPct val="0"/>
        </a:spcBef>
        <a:spcAft>
          <a:spcPct val="100000"/>
        </a:spcAft>
        <a:buClr>
          <a:schemeClr val="tx1"/>
        </a:buClr>
        <a:buFont typeface="Arial" charset="0"/>
        <a:buChar char="&gt;"/>
        <a:defRPr sz="1200">
          <a:solidFill>
            <a:srgbClr val="565656"/>
          </a:solidFill>
          <a:latin typeface="+mn-lt"/>
          <a:cs typeface="+mn-cs"/>
        </a:defRPr>
      </a:lvl9pPr>
    </p:bodyStyle>
    <p:otherStyle>
      <a:defPPr>
        <a:defRPr lang="sv-SE"/>
      </a:defPPr>
      <a:lvl1pPr marL="0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4535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9068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3603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139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72672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7209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901743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6276" algn="l" defTabSz="8290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nergiintelligent.se/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mailto:marit.ragnarsson@lansstyrelsen.se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0.jp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vk.se/om-kraftsystemet/kontrollrummet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273217"/>
            <a:ext cx="9144000" cy="1921377"/>
          </a:xfrm>
        </p:spPr>
        <p:txBody>
          <a:bodyPr>
            <a:noAutofit/>
          </a:bodyPr>
          <a:lstStyle/>
          <a:p>
            <a:r>
              <a:rPr lang="sv-SE" sz="3200" dirty="0"/>
              <a:t>Energieffektivisera </a:t>
            </a:r>
            <a:br>
              <a:rPr lang="sv-SE" sz="3200" dirty="0"/>
            </a:br>
            <a:r>
              <a:rPr lang="sv-SE" sz="1800" dirty="0"/>
              <a:t>och</a:t>
            </a:r>
            <a:br>
              <a:rPr lang="sv-SE" sz="1800" dirty="0"/>
            </a:br>
            <a:r>
              <a:rPr lang="sv-SE" sz="4400" dirty="0"/>
              <a:t>Platta kurvan för el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94A7EF85-E10B-419A-83FA-E55B4927113F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5899" y="6136302"/>
            <a:ext cx="1445260" cy="5486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923872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6852" y="524516"/>
            <a:ext cx="9206948" cy="1325563"/>
          </a:xfrm>
        </p:spPr>
        <p:txBody>
          <a:bodyPr>
            <a:normAutofit/>
          </a:bodyPr>
          <a:lstStyle/>
          <a:p>
            <a:r>
              <a:rPr lang="sv-SE" sz="3200" kern="0" dirty="0"/>
              <a:t>Elanvändning, Dalarna</a:t>
            </a:r>
            <a:r>
              <a:rPr lang="sv-SE" sz="4400" b="1" kern="0" dirty="0"/>
              <a:t> </a:t>
            </a:r>
            <a:endParaRPr lang="sv-SE" dirty="0"/>
          </a:p>
        </p:txBody>
      </p:sp>
      <p:pic>
        <p:nvPicPr>
          <p:cNvPr id="7" name="Picture 33">
            <a:extLst>
              <a:ext uri="{FF2B5EF4-FFF2-40B4-BE49-F238E27FC236}">
                <a16:creationId xmlns:a16="http://schemas.microsoft.com/office/drawing/2014/main" id="{020237FB-6D60-4A67-A444-AD53CE3755D8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5808" y="1850078"/>
            <a:ext cx="8125140" cy="400529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232802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6852" y="524516"/>
            <a:ext cx="9206948" cy="1325563"/>
          </a:xfrm>
        </p:spPr>
        <p:txBody>
          <a:bodyPr>
            <a:normAutofit/>
          </a:bodyPr>
          <a:lstStyle/>
          <a:p>
            <a:r>
              <a:rPr lang="sv-SE" sz="3200" kern="0" dirty="0"/>
              <a:t>Elanvändning, Dalarna</a:t>
            </a:r>
            <a:br>
              <a:rPr lang="sv-SE" sz="3200" kern="0" dirty="0"/>
            </a:br>
            <a:r>
              <a:rPr lang="sv-SE" sz="3200" kern="0" dirty="0"/>
              <a:t>- stor skillnad om mycket fjärrvärme eller inte</a:t>
            </a:r>
            <a:r>
              <a:rPr lang="sv-SE" sz="4400" b="1" kern="0" dirty="0"/>
              <a:t> </a:t>
            </a:r>
            <a:endParaRPr lang="sv-SE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DC12A35A-12ED-4683-867F-D4E9D27247A3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9216" y="2098963"/>
            <a:ext cx="7514384" cy="346132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3473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6852" y="524516"/>
            <a:ext cx="9206948" cy="1325563"/>
          </a:xfrm>
        </p:spPr>
        <p:txBody>
          <a:bodyPr>
            <a:normAutofit/>
          </a:bodyPr>
          <a:lstStyle/>
          <a:p>
            <a:r>
              <a:rPr lang="sv-SE" sz="3200" kern="0" dirty="0"/>
              <a:t>Laddmönster för elbilar har stor betydelse i lokalnäten</a:t>
            </a:r>
            <a:endParaRPr lang="sv-SE" dirty="0"/>
          </a:p>
        </p:txBody>
      </p:sp>
      <p:pic>
        <p:nvPicPr>
          <p:cNvPr id="4" name="Picture 28">
            <a:extLst>
              <a:ext uri="{FF2B5EF4-FFF2-40B4-BE49-F238E27FC236}">
                <a16:creationId xmlns:a16="http://schemas.microsoft.com/office/drawing/2014/main" id="{371054FF-0FFB-42AF-B89C-5C3ECDC08501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3529" y="1812997"/>
            <a:ext cx="7969453" cy="3232006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ruta 6">
            <a:extLst>
              <a:ext uri="{FF2B5EF4-FFF2-40B4-BE49-F238E27FC236}">
                <a16:creationId xmlns:a16="http://schemas.microsoft.com/office/drawing/2014/main" id="{FE82C0A8-31A5-4A5E-9EF2-ADAFF7DF620C}"/>
              </a:ext>
            </a:extLst>
          </p:cNvPr>
          <p:cNvSpPr txBox="1"/>
          <p:nvPr/>
        </p:nvSpPr>
        <p:spPr>
          <a:xfrm>
            <a:off x="2447109" y="5246255"/>
            <a:ext cx="787254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000"/>
              </a:spcAft>
            </a:pPr>
            <a:r>
              <a:rPr lang="sv-SE" sz="1800" i="1" dirty="0">
                <a:solidFill>
                  <a:srgbClr val="44546A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llkommande effektbehov inom Malungs Elnät från transportsektorn 2045 för en vintervecka jämfört med lastprofilen för 2019, behovsstyrt (vänster) respektive utjämnat (höger) laddningsmönster.</a:t>
            </a:r>
          </a:p>
        </p:txBody>
      </p:sp>
    </p:spTree>
    <p:extLst>
      <p:ext uri="{BB962C8B-B14F-4D97-AF65-F5344CB8AC3E}">
        <p14:creationId xmlns:p14="http://schemas.microsoft.com/office/powerpoint/2010/main" val="15290670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Dalarnas effekttoppar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B3ED757-22CF-4981-9EC9-2B9D4A9C054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5116"/>
          <a:stretch/>
        </p:blipFill>
        <p:spPr>
          <a:xfrm>
            <a:off x="1097280" y="1690688"/>
            <a:ext cx="6655813" cy="4509543"/>
          </a:xfrm>
          <a:prstGeom prst="rect">
            <a:avLst/>
          </a:prstGeom>
        </p:spPr>
      </p:pic>
      <p:sp>
        <p:nvSpPr>
          <p:cNvPr id="11" name="textruta 10">
            <a:extLst>
              <a:ext uri="{FF2B5EF4-FFF2-40B4-BE49-F238E27FC236}">
                <a16:creationId xmlns:a16="http://schemas.microsoft.com/office/drawing/2014/main" id="{5FE167F2-2343-42E8-BFB9-C072CE061EF4}"/>
              </a:ext>
            </a:extLst>
          </p:cNvPr>
          <p:cNvSpPr txBox="1"/>
          <p:nvPr/>
        </p:nvSpPr>
        <p:spPr>
          <a:xfrm>
            <a:off x="8106641" y="2830085"/>
            <a:ext cx="3339438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sv-SE" sz="2000" b="1" dirty="0">
                <a:solidFill>
                  <a:srgbClr val="000000"/>
                </a:solidFill>
                <a:latin typeface="Arial" panose="020B0604020202020204" pitchFamily="34" charset="0"/>
              </a:rPr>
              <a:t>Främst tider för behov av att platta kurvan: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sv-SE" sz="1600" b="1" dirty="0">
                <a:solidFill>
                  <a:srgbClr val="000000"/>
                </a:solidFill>
                <a:latin typeface="Arial" panose="020B0604020202020204" pitchFamily="34" charset="0"/>
              </a:rPr>
              <a:t>Industri: </a:t>
            </a:r>
            <a:r>
              <a:rPr lang="sv-SE" sz="1600" b="1" dirty="0" err="1">
                <a:solidFill>
                  <a:srgbClr val="000000"/>
                </a:solidFill>
                <a:latin typeface="Arial" panose="020B0604020202020204" pitchFamily="34" charset="0"/>
              </a:rPr>
              <a:t>Vard</a:t>
            </a:r>
            <a:r>
              <a:rPr lang="sv-SE" sz="1600" b="1" dirty="0">
                <a:solidFill>
                  <a:srgbClr val="000000"/>
                </a:solidFill>
                <a:latin typeface="Arial" panose="020B0604020202020204" pitchFamily="34" charset="0"/>
              </a:rPr>
              <a:t> 07-09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sv-SE" sz="1600" b="1" dirty="0">
                <a:solidFill>
                  <a:srgbClr val="000000"/>
                </a:solidFill>
                <a:latin typeface="Arial" panose="020B0604020202020204" pitchFamily="34" charset="0"/>
              </a:rPr>
              <a:t>Hushåll: </a:t>
            </a:r>
            <a:r>
              <a:rPr lang="sv-SE" sz="1600" b="1" dirty="0" err="1">
                <a:solidFill>
                  <a:srgbClr val="000000"/>
                </a:solidFill>
                <a:latin typeface="Arial" panose="020B0604020202020204" pitchFamily="34" charset="0"/>
              </a:rPr>
              <a:t>Vard</a:t>
            </a:r>
            <a:r>
              <a:rPr lang="sv-SE" sz="1600" b="1" dirty="0">
                <a:solidFill>
                  <a:srgbClr val="000000"/>
                </a:solidFill>
                <a:latin typeface="Arial" panose="020B0604020202020204" pitchFamily="34" charset="0"/>
              </a:rPr>
              <a:t> 17-19 + fm helger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sv-SE" sz="1600" b="1" dirty="0">
                <a:solidFill>
                  <a:srgbClr val="000000"/>
                </a:solidFill>
                <a:latin typeface="Arial" panose="020B0604020202020204" pitchFamily="34" charset="0"/>
              </a:rPr>
              <a:t>Kommunala </a:t>
            </a:r>
            <a:r>
              <a:rPr lang="sv-SE" sz="1600" b="1" dirty="0" err="1">
                <a:solidFill>
                  <a:srgbClr val="000000"/>
                </a:solidFill>
                <a:latin typeface="Arial" panose="020B0604020202020204" pitchFamily="34" charset="0"/>
              </a:rPr>
              <a:t>org</a:t>
            </a:r>
            <a:r>
              <a:rPr lang="sv-SE" sz="1600" b="1">
                <a:solidFill>
                  <a:srgbClr val="000000"/>
                </a:solidFill>
                <a:latin typeface="Arial" panose="020B0604020202020204" pitchFamily="34" charset="0"/>
              </a:rPr>
              <a:t>: 08-12</a:t>
            </a:r>
            <a:endParaRPr lang="sv-SE" sz="160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sv-SE" sz="1600" b="1" dirty="0">
                <a:solidFill>
                  <a:srgbClr val="000000"/>
                </a:solidFill>
                <a:latin typeface="Arial" panose="020B0604020202020204" pitchFamily="34" charset="0"/>
              </a:rPr>
              <a:t>Övriga verks: 07-09 och 17-19</a:t>
            </a: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7776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Dalarnas mål: 50 MW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5FE167F2-2343-42E8-BFB9-C072CE061EF4}"/>
              </a:ext>
            </a:extLst>
          </p:cNvPr>
          <p:cNvSpPr txBox="1"/>
          <p:nvPr/>
        </p:nvSpPr>
        <p:spPr>
          <a:xfrm>
            <a:off x="5519956" y="3820797"/>
            <a:ext cx="5229837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sv-SE" sz="2000" b="1" dirty="0">
                <a:solidFill>
                  <a:srgbClr val="000000"/>
                </a:solidFill>
                <a:latin typeface="Arial" panose="020B0604020202020204" pitchFamily="34" charset="0"/>
              </a:rPr>
              <a:t>Behov av att platta kurvan: 50 MW</a:t>
            </a:r>
          </a:p>
          <a:p>
            <a:pPr marL="0" indent="0">
              <a:buNone/>
            </a:pPr>
            <a:br>
              <a:rPr lang="sv-SE" sz="2000" b="1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sv-SE" sz="2000" b="1" dirty="0">
                <a:solidFill>
                  <a:srgbClr val="000000"/>
                </a:solidFill>
                <a:latin typeface="Arial" panose="020B0604020202020204" pitchFamily="34" charset="0"/>
              </a:rPr>
              <a:t>Motsvarar lika mycket som Hedemoras hela lokalnät</a:t>
            </a:r>
            <a:endParaRPr lang="sv-SE" sz="160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F6ECC5C9-BF0D-4504-BC05-A068EA56D93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003"/>
          <a:stretch/>
        </p:blipFill>
        <p:spPr>
          <a:xfrm>
            <a:off x="1715534" y="2075887"/>
            <a:ext cx="2464307" cy="3489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4257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6852" y="365125"/>
            <a:ext cx="9206948" cy="3854335"/>
          </a:xfrm>
        </p:spPr>
        <p:txBody>
          <a:bodyPr>
            <a:normAutofit/>
          </a:bodyPr>
          <a:lstStyle/>
          <a:p>
            <a:r>
              <a:rPr lang="sv-SE" dirty="0"/>
              <a:t>Kampanj: </a:t>
            </a:r>
            <a:br>
              <a:rPr lang="sv-SE" dirty="0"/>
            </a:br>
            <a:r>
              <a:rPr lang="sv-SE" dirty="0"/>
              <a:t>Platta kurvan </a:t>
            </a:r>
            <a:br>
              <a:rPr lang="sv-SE" dirty="0"/>
            </a:br>
            <a:r>
              <a:rPr lang="sv-SE" dirty="0"/>
              <a:t>för el</a:t>
            </a:r>
            <a:endParaRPr lang="sv-SE" sz="2200" dirty="0"/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27AC49AD-54BA-445E-A577-4DEFF6C476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/>
          <a:stretch/>
        </p:blipFill>
        <p:spPr>
          <a:xfrm>
            <a:off x="5782491" y="187282"/>
            <a:ext cx="4594883" cy="6540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6166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Kampanj: Platta kurvan för el</a:t>
            </a:r>
            <a:endParaRPr lang="sv-SE" sz="2200" dirty="0"/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E2215A06-7428-485D-97A3-29A348F6EC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86080"/>
            <a:ext cx="12268422" cy="6471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7253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Vinster </a:t>
            </a:r>
            <a:br>
              <a:rPr lang="sv-SE" dirty="0"/>
            </a:br>
            <a:r>
              <a:rPr lang="sv-SE" sz="2200" dirty="0"/>
              <a:t>Minska den totala energianvändningen och platta kurvan </a:t>
            </a: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F8EAB0D5-2D0F-4F57-A9AF-260368FEC3AC}"/>
              </a:ext>
            </a:extLst>
          </p:cNvPr>
          <p:cNvSpPr txBox="1"/>
          <p:nvPr/>
        </p:nvSpPr>
        <p:spPr>
          <a:xfrm>
            <a:off x="882941" y="1993184"/>
            <a:ext cx="9469074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00050" indent="-342900">
              <a:buFont typeface="Arial" panose="020B0604020202020204" pitchFamily="34" charset="0"/>
              <a:buChar char="•"/>
            </a:pPr>
            <a:r>
              <a:rPr lang="sv-SE" sz="2400" dirty="0"/>
              <a:t>Sänker kostnaden</a:t>
            </a:r>
          </a:p>
          <a:p>
            <a:pPr marL="400050" indent="-342900">
              <a:buFont typeface="Arial" panose="020B0604020202020204" pitchFamily="34" charset="0"/>
              <a:buChar char="•"/>
            </a:pPr>
            <a:r>
              <a:rPr lang="sv-SE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Minskar risken för bortkoppling (2 % minskade toppar minskar risken för frånkoppling till en f</a:t>
            </a:r>
            <a:r>
              <a:rPr lang="sv-SE" sz="24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emtedel)</a:t>
            </a:r>
          </a:p>
          <a:p>
            <a:pPr marL="400050" indent="-342900">
              <a:buFont typeface="Arial" panose="020B0604020202020204" pitchFamily="34" charset="0"/>
              <a:buChar char="•"/>
            </a:pPr>
            <a:r>
              <a:rPr lang="sv-SE" sz="2400" kern="0" dirty="0"/>
              <a:t>Minskar extrema pristoppar. (Priserna på alla kWh på Nord Pool bestäms utifrån hur mycket det kostar att producera den sista kWh)</a:t>
            </a:r>
          </a:p>
          <a:p>
            <a:pPr marL="400050" indent="-342900">
              <a:buFont typeface="Arial" panose="020B0604020202020204" pitchFamily="34" charset="0"/>
              <a:buChar char="•"/>
            </a:pPr>
            <a:r>
              <a:rPr lang="sv-SE" sz="2400" kern="0" dirty="0"/>
              <a:t>Solidaritet med resten av Europa</a:t>
            </a:r>
            <a:endParaRPr lang="sv-SE" sz="2400" dirty="0"/>
          </a:p>
          <a:p>
            <a:pPr marL="400050" indent="-342900">
              <a:buFont typeface="Arial" panose="020B0604020202020204" pitchFamily="34" charset="0"/>
              <a:buChar char="•"/>
            </a:pPr>
            <a:r>
              <a:rPr lang="sv-SE" sz="2400" dirty="0"/>
              <a:t>Bidra till klimatmålen</a:t>
            </a:r>
          </a:p>
          <a:p>
            <a:pPr marL="400050" indent="-342900">
              <a:buFont typeface="Arial" panose="020B0604020202020204" pitchFamily="34" charset="0"/>
              <a:buChar char="•"/>
            </a:pPr>
            <a:r>
              <a:rPr lang="sv-SE" sz="2400" dirty="0"/>
              <a:t>Uppfyll miljöbalkens krav</a:t>
            </a:r>
          </a:p>
          <a:p>
            <a:pPr marL="400050" indent="-342900">
              <a:buFont typeface="Arial" panose="020B0604020202020204" pitchFamily="34" charset="0"/>
              <a:buChar char="•"/>
            </a:pPr>
            <a:endParaRPr lang="sv-SE" sz="2400" dirty="0"/>
          </a:p>
          <a:p>
            <a:pPr marL="57150"/>
            <a:r>
              <a:rPr lang="sv-SE" sz="2400" b="1" dirty="0"/>
              <a:t>Offentliga behöver föregå med gott exempel!</a:t>
            </a:r>
          </a:p>
        </p:txBody>
      </p:sp>
    </p:spTree>
    <p:extLst>
      <p:ext uri="{BB962C8B-B14F-4D97-AF65-F5344CB8AC3E}">
        <p14:creationId xmlns:p14="http://schemas.microsoft.com/office/powerpoint/2010/main" val="32168542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Vad kan du göra?</a:t>
            </a:r>
            <a:endParaRPr lang="sv-SE" sz="2200" dirty="0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F8EAB0D5-2D0F-4F57-A9AF-260368FEC3AC}"/>
              </a:ext>
            </a:extLst>
          </p:cNvPr>
          <p:cNvSpPr txBox="1"/>
          <p:nvPr/>
        </p:nvSpPr>
        <p:spPr>
          <a:xfrm>
            <a:off x="882941" y="1993184"/>
            <a:ext cx="8722453" cy="37240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457200">
              <a:buFont typeface="Arial" panose="020B0604020202020204" pitchFamily="34" charset="0"/>
              <a:buChar char="•"/>
            </a:pPr>
            <a:r>
              <a:rPr lang="sv-SE" sz="2800" dirty="0"/>
              <a:t>Få full koll på energianvändningen</a:t>
            </a:r>
          </a:p>
          <a:p>
            <a:pPr marL="514350" indent="-457200">
              <a:buFont typeface="Arial" panose="020B0604020202020204" pitchFamily="34" charset="0"/>
              <a:buChar char="•"/>
            </a:pPr>
            <a:endParaRPr lang="sv-SE" sz="2800" dirty="0"/>
          </a:p>
          <a:p>
            <a:pPr marL="514350" indent="-457200">
              <a:buFont typeface="Arial" panose="020B0604020202020204" pitchFamily="34" charset="0"/>
              <a:buChar char="•"/>
            </a:pPr>
            <a:r>
              <a:rPr lang="sv-SE" sz="2800" dirty="0"/>
              <a:t>Hushålla med energi (energieffektivisera)</a:t>
            </a:r>
          </a:p>
          <a:p>
            <a:pPr marL="514350" indent="-457200">
              <a:buFont typeface="Arial" panose="020B0604020202020204" pitchFamily="34" charset="0"/>
              <a:buChar char="•"/>
            </a:pPr>
            <a:endParaRPr lang="sv-SE" sz="2800" dirty="0"/>
          </a:p>
          <a:p>
            <a:pPr marL="514350" indent="-457200">
              <a:buFont typeface="Arial" panose="020B0604020202020204" pitchFamily="34" charset="0"/>
              <a:buChar char="•"/>
            </a:pPr>
            <a:r>
              <a:rPr lang="sv-SE" sz="2800" dirty="0"/>
              <a:t>Hushålla med effekt (platta kurvan)</a:t>
            </a:r>
          </a:p>
          <a:p>
            <a:pPr marL="57150" indent="0">
              <a:buNone/>
            </a:pPr>
            <a:endParaRPr lang="sv-SE" sz="2400" dirty="0"/>
          </a:p>
          <a:p>
            <a:pPr marL="57150" indent="0">
              <a:buNone/>
            </a:pPr>
            <a:endParaRPr lang="sv-SE" sz="2400" dirty="0"/>
          </a:p>
          <a:p>
            <a:pPr marL="57150" indent="0">
              <a:buNone/>
            </a:pPr>
            <a:endParaRPr lang="sv-SE" sz="2400" dirty="0"/>
          </a:p>
          <a:p>
            <a:pPr marL="57150" indent="0">
              <a:buNone/>
            </a:pPr>
            <a:endParaRPr lang="sv-SE" sz="2400" dirty="0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9E9B2DCA-2B8A-4599-AC16-792975FA9B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47293" y="365125"/>
            <a:ext cx="2506507" cy="2207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1029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9E9B2DCA-2B8A-4599-AC16-792975FA9B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38733" y="0"/>
            <a:ext cx="2506507" cy="2207056"/>
          </a:xfrm>
          <a:prstGeom prst="rect">
            <a:avLst/>
          </a:prstGeom>
        </p:spPr>
      </p:pic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Få koll</a:t>
            </a:r>
            <a:endParaRPr lang="sv-SE" sz="2200" dirty="0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F8EAB0D5-2D0F-4F57-A9AF-260368FEC3AC}"/>
              </a:ext>
            </a:extLst>
          </p:cNvPr>
          <p:cNvSpPr txBox="1"/>
          <p:nvPr/>
        </p:nvSpPr>
        <p:spPr>
          <a:xfrm>
            <a:off x="882941" y="1892716"/>
            <a:ext cx="10160979" cy="39130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0005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/>
              <a:t>Hur mycket energi som används.</a:t>
            </a:r>
          </a:p>
          <a:p>
            <a:pPr marL="40005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/>
              <a:t>När effekt-toppar uppstår.</a:t>
            </a:r>
          </a:p>
          <a:p>
            <a:pPr marL="57150">
              <a:lnSpc>
                <a:spcPct val="150000"/>
              </a:lnSpc>
            </a:pPr>
            <a:r>
              <a:rPr lang="sv-SE" sz="2400" dirty="0">
                <a:sym typeface="Wingdings" panose="05000000000000000000" pitchFamily="2" charset="2"/>
              </a:rPr>
              <a:t> </a:t>
            </a:r>
            <a:r>
              <a:rPr lang="sv-SE" sz="2400" dirty="0"/>
              <a:t>Ta ut timvärden från elbolag och fjärrvärmeleverantör. Följ upp löpande.</a:t>
            </a:r>
          </a:p>
          <a:p>
            <a:pPr marL="40005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400" dirty="0"/>
              <a:t>Se över elavtal</a:t>
            </a:r>
            <a:br>
              <a:rPr lang="sv-SE" sz="2400" dirty="0"/>
            </a:br>
            <a:r>
              <a:rPr lang="sv-SE" sz="2400" u="sng" dirty="0"/>
              <a:t>Abonnemang</a:t>
            </a:r>
            <a:r>
              <a:rPr lang="sv-SE" sz="2400" dirty="0"/>
              <a:t> (Säkringstaxa, Effekttaxa)</a:t>
            </a:r>
            <a:br>
              <a:rPr lang="sv-SE" sz="2400" dirty="0"/>
            </a:br>
            <a:r>
              <a:rPr lang="sv-SE" sz="2400" u="sng" dirty="0"/>
              <a:t>Elhandelavtal</a:t>
            </a:r>
            <a:r>
              <a:rPr lang="sv-SE" sz="2400" dirty="0"/>
              <a:t> (Fastpris, rörligt genomsnitt pris månad, mix, rörligt timpris </a:t>
            </a:r>
            <a:br>
              <a:rPr lang="sv-SE" sz="2400" dirty="0"/>
            </a:br>
            <a:endParaRPr lang="sv-SE" sz="2400" dirty="0"/>
          </a:p>
        </p:txBody>
      </p:sp>
    </p:spTree>
    <p:extLst>
      <p:ext uri="{BB962C8B-B14F-4D97-AF65-F5344CB8AC3E}">
        <p14:creationId xmlns:p14="http://schemas.microsoft.com/office/powerpoint/2010/main" val="11884529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U:s omställning av energisystemet </a:t>
            </a: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5C29D2BB-F12D-A949-B63A-3EC16672FE75}"/>
              </a:ext>
            </a:extLst>
          </p:cNvPr>
          <p:cNvSpPr txBox="1"/>
          <p:nvPr/>
        </p:nvSpPr>
        <p:spPr>
          <a:xfrm>
            <a:off x="925015" y="1769287"/>
            <a:ext cx="5710677" cy="36625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2400" b="1" dirty="0" err="1">
                <a:solidFill>
                  <a:srgbClr val="000000"/>
                </a:solidFill>
                <a:latin typeface="Arial" panose="020B0604020202020204" pitchFamily="34" charset="0"/>
              </a:rPr>
              <a:t>RePower</a:t>
            </a:r>
            <a:r>
              <a:rPr lang="sv-SE" sz="2400" b="1" dirty="0">
                <a:solidFill>
                  <a:srgbClr val="000000"/>
                </a:solidFill>
                <a:latin typeface="Arial" panose="020B0604020202020204" pitchFamily="34" charset="0"/>
              </a:rPr>
              <a:t> EU</a:t>
            </a: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ossilfri energi</a:t>
            </a: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illräcklig energitillförsel </a:t>
            </a:r>
            <a:b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lang="sv-SE" sz="2400" dirty="0">
                <a:solidFill>
                  <a:srgbClr val="000000"/>
                </a:solidFill>
                <a:latin typeface="Arial" panose="020B0604020202020204" pitchFamily="34" charset="0"/>
              </a:rPr>
              <a:t>(både </a:t>
            </a: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nergi och effekt)</a:t>
            </a: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obust energisystem som klarar </a:t>
            </a:r>
            <a:b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limatförändringar</a:t>
            </a: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imligt energipris</a:t>
            </a: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inskad (geopolitisk) sårbarhe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DA05FC57-9048-4E8F-9E7C-4190325D0098}"/>
              </a:ext>
            </a:extLst>
          </p:cNvPr>
          <p:cNvSpPr txBox="1"/>
          <p:nvPr/>
        </p:nvSpPr>
        <p:spPr>
          <a:xfrm>
            <a:off x="1468074" y="5647093"/>
            <a:ext cx="71362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800" b="1" i="1" dirty="0"/>
              <a:t>Takten i omställningen behöver fördubblas!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3D2C457D-8732-4F92-B94C-15A5ABA079A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501" r="3875"/>
          <a:stretch/>
        </p:blipFill>
        <p:spPr>
          <a:xfrm>
            <a:off x="6682995" y="1442180"/>
            <a:ext cx="4670805" cy="3989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4983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Energieffektivisera</a:t>
            </a:r>
            <a:endParaRPr lang="sv-SE" sz="2200" dirty="0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F8EAB0D5-2D0F-4F57-A9AF-260368FEC3AC}"/>
              </a:ext>
            </a:extLst>
          </p:cNvPr>
          <p:cNvSpPr txBox="1"/>
          <p:nvPr/>
        </p:nvSpPr>
        <p:spPr>
          <a:xfrm>
            <a:off x="882940" y="1576624"/>
            <a:ext cx="10547060" cy="50475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50">
              <a:spcAft>
                <a:spcPts val="600"/>
              </a:spcAft>
            </a:pPr>
            <a:r>
              <a:rPr lang="sv-SE" sz="2400" dirty="0"/>
              <a:t>Många har kommit långt, men det finns alltid mer att göra!</a:t>
            </a:r>
          </a:p>
          <a:p>
            <a:pPr marL="57150">
              <a:spcAft>
                <a:spcPts val="600"/>
              </a:spcAft>
            </a:pPr>
            <a:r>
              <a:rPr lang="sv-SE" sz="2400" b="1" dirty="0"/>
              <a:t>Framgångsfaktorer:</a:t>
            </a:r>
            <a:br>
              <a:rPr lang="sv-SE" sz="2400" dirty="0"/>
            </a:br>
            <a:r>
              <a:rPr lang="sv-SE" sz="2400" dirty="0"/>
              <a:t>- Engagemang från högsta ledningen</a:t>
            </a:r>
            <a:br>
              <a:rPr lang="sv-SE" sz="2400" dirty="0"/>
            </a:br>
            <a:r>
              <a:rPr lang="sv-SE" sz="2400" dirty="0"/>
              <a:t>- </a:t>
            </a:r>
            <a:r>
              <a:rPr lang="sv-SE" sz="2400" kern="0" dirty="0"/>
              <a:t>Beslut om en långsiktig strategi med visioner och mål</a:t>
            </a:r>
            <a:br>
              <a:rPr lang="sv-SE" sz="2400" kern="0" dirty="0"/>
            </a:br>
            <a:r>
              <a:rPr lang="sv-SE" sz="2400" kern="0" dirty="0"/>
              <a:t>- Energikartläggningar för alla fastigheter med plan för åtgärder (organisation/beteende, drift/underhåll och investeringar)</a:t>
            </a:r>
            <a:br>
              <a:rPr lang="sv-SE" sz="2400" kern="0" dirty="0"/>
            </a:br>
            <a:r>
              <a:rPr lang="sv-SE" sz="2400" kern="0" dirty="0"/>
              <a:t>- Att medel för investeringar avsätts</a:t>
            </a:r>
            <a:br>
              <a:rPr lang="sv-SE" sz="2400" kern="0" dirty="0"/>
            </a:br>
            <a:r>
              <a:rPr lang="sv-SE" sz="2400" kern="0" dirty="0"/>
              <a:t>- Utsedda personer med kunskap och ansvar</a:t>
            </a:r>
            <a:br>
              <a:rPr lang="sv-SE" sz="2400" kern="0" dirty="0"/>
            </a:br>
            <a:r>
              <a:rPr lang="sv-SE" sz="2400" kern="0" dirty="0"/>
              <a:t>- Strukturerat och systematiskt arbetssätt.</a:t>
            </a:r>
          </a:p>
          <a:p>
            <a:pPr marL="57150"/>
            <a:endParaRPr lang="sv-SE" sz="2400" dirty="0"/>
          </a:p>
          <a:p>
            <a:pPr marL="57150" indent="0">
              <a:buNone/>
            </a:pPr>
            <a:r>
              <a:rPr lang="sv-SE" sz="2400" dirty="0"/>
              <a:t>NU: Åtgärder som ger effekt på kort sikt, även för att klara höga energikostnader</a:t>
            </a:r>
            <a:br>
              <a:rPr lang="sv-SE" sz="2400" dirty="0"/>
            </a:br>
            <a:r>
              <a:rPr lang="sv-SE" sz="2400" kern="0" dirty="0">
                <a:sym typeface="Wingdings" panose="05000000000000000000" pitchFamily="2" charset="2"/>
              </a:rPr>
              <a:t> </a:t>
            </a:r>
            <a:r>
              <a:rPr lang="sv-SE" sz="2400" kern="0" dirty="0"/>
              <a:t>Att minska den totala energianvändningen minskar också effekttopparna.</a:t>
            </a:r>
          </a:p>
          <a:p>
            <a:pPr marL="57150" indent="0">
              <a:buNone/>
            </a:pPr>
            <a:endParaRPr lang="sv-SE" sz="2400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56C745A-7489-4BD4-BC70-BDD12A8F25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05637" y="698129"/>
            <a:ext cx="2473235" cy="2528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619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 descr="En bild som visar tak&#10;&#10;Automatiskt genererad beskrivning">
            <a:extLst>
              <a:ext uri="{FF2B5EF4-FFF2-40B4-BE49-F238E27FC236}">
                <a16:creationId xmlns:a16="http://schemas.microsoft.com/office/drawing/2014/main" id="{E814D7FC-8DF4-4A12-8EF9-135B8EA283E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1298"/>
          <a:stretch/>
        </p:blipFill>
        <p:spPr>
          <a:xfrm>
            <a:off x="0" y="-1"/>
            <a:ext cx="12192000" cy="6896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3231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Hushålla med effekt</a:t>
            </a:r>
            <a:endParaRPr lang="sv-SE" sz="2200" dirty="0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F8EAB0D5-2D0F-4F57-A9AF-260368FEC3AC}"/>
              </a:ext>
            </a:extLst>
          </p:cNvPr>
          <p:cNvSpPr txBox="1"/>
          <p:nvPr/>
        </p:nvSpPr>
        <p:spPr>
          <a:xfrm>
            <a:off x="882941" y="1993184"/>
            <a:ext cx="9469074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50" indent="0">
              <a:buNone/>
            </a:pPr>
            <a:r>
              <a:rPr lang="sv-SE" sz="2800" b="1" dirty="0"/>
              <a:t>Använda el rätt tid på dygnet</a:t>
            </a:r>
          </a:p>
          <a:p>
            <a:pPr marL="57150" indent="0">
              <a:buNone/>
            </a:pPr>
            <a:r>
              <a:rPr lang="sv-SE" sz="2400" kern="0" dirty="0"/>
              <a:t>Inte lika många jobbar aktivt med detta.</a:t>
            </a:r>
          </a:p>
          <a:p>
            <a:pPr marL="57150" indent="0">
              <a:buNone/>
            </a:pPr>
            <a:br>
              <a:rPr lang="sv-SE" sz="1600" kern="0" dirty="0"/>
            </a:br>
            <a:r>
              <a:rPr lang="sv-SE" sz="2400" kern="0" dirty="0"/>
              <a:t>Exempel:</a:t>
            </a:r>
          </a:p>
          <a:p>
            <a:pPr marL="400050" indent="-342900">
              <a:buFont typeface="Arial" panose="020B0604020202020204" pitchFamily="34" charset="0"/>
              <a:buChar char="•"/>
            </a:pPr>
            <a:r>
              <a:rPr lang="sv-SE" sz="2400" kern="0" dirty="0"/>
              <a:t>Undvik att starta många maskiner samtidigt</a:t>
            </a:r>
          </a:p>
          <a:p>
            <a:pPr marL="400050" indent="-342900">
              <a:buFont typeface="Arial" panose="020B0604020202020204" pitchFamily="34" charset="0"/>
              <a:buChar char="•"/>
            </a:pPr>
            <a:r>
              <a:rPr lang="sv-SE" sz="2400" kern="0" dirty="0"/>
              <a:t>Använda eldrivna maskiner/utrustning andra tider på dygnet, t ex laddning av elbilar.</a:t>
            </a:r>
          </a:p>
          <a:p>
            <a:pPr marL="400050" indent="-342900">
              <a:buFont typeface="Arial" panose="020B0604020202020204" pitchFamily="34" charset="0"/>
              <a:buChar char="•"/>
            </a:pPr>
            <a:r>
              <a:rPr lang="sv-SE" sz="2400" kern="0" dirty="0"/>
              <a:t>Tillfällig avstängning kylkompressorer, värmepumpar, ventilation</a:t>
            </a:r>
            <a:r>
              <a:rPr lang="sv-SE" sz="1800" kern="140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</a:p>
          <a:p>
            <a:pPr marL="400050" indent="-342900">
              <a:buFont typeface="Arial" panose="020B0604020202020204" pitchFamily="34" charset="0"/>
              <a:buChar char="•"/>
            </a:pPr>
            <a:endParaRPr lang="sv-SE" sz="2400" kern="0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413A0C8B-5FC6-4C6B-B3C5-725573E431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69614" y="762846"/>
            <a:ext cx="2975626" cy="2869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38221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9B9ABA-BAC4-460F-9443-A4025EE7BD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05552" y="2976503"/>
            <a:ext cx="1166869" cy="37065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1800" dirty="0"/>
              <a:t>Leksand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A899CDAB-B455-DEA0-5969-27273052554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6219336"/>
              </p:ext>
            </p:extLst>
          </p:nvPr>
        </p:nvGraphicFramePr>
        <p:xfrm>
          <a:off x="6781800" y="322204"/>
          <a:ext cx="4572000" cy="2654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A345D6E6-AAD6-E165-B79B-1A40C786579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2172701"/>
              </p:ext>
            </p:extLst>
          </p:nvPr>
        </p:nvGraphicFramePr>
        <p:xfrm>
          <a:off x="2036284" y="366271"/>
          <a:ext cx="4572000" cy="2647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Platshållare för innehåll 2">
            <a:extLst>
              <a:ext uri="{FF2B5EF4-FFF2-40B4-BE49-F238E27FC236}">
                <a16:creationId xmlns:a16="http://schemas.microsoft.com/office/drawing/2014/main" id="{E0D4CAC7-310C-4831-BF9B-3220DC26DEE4}"/>
              </a:ext>
            </a:extLst>
          </p:cNvPr>
          <p:cNvSpPr txBox="1">
            <a:spLocks/>
          </p:cNvSpPr>
          <p:nvPr/>
        </p:nvSpPr>
        <p:spPr>
          <a:xfrm>
            <a:off x="3785672" y="2992187"/>
            <a:ext cx="1166869" cy="3706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sv-SE" sz="1800" dirty="0"/>
              <a:t>Gagnef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0728F4F4-37C0-358B-E11E-17B769BA5A3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0020109"/>
              </p:ext>
            </p:extLst>
          </p:nvPr>
        </p:nvGraphicFramePr>
        <p:xfrm>
          <a:off x="2190518" y="3276666"/>
          <a:ext cx="4572000" cy="2647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938CDFBB-C4B8-428B-8F91-672CCD371496}"/>
              </a:ext>
            </a:extLst>
          </p:cNvPr>
          <p:cNvSpPr txBox="1">
            <a:spLocks/>
          </p:cNvSpPr>
          <p:nvPr/>
        </p:nvSpPr>
        <p:spPr>
          <a:xfrm>
            <a:off x="3833410" y="5907947"/>
            <a:ext cx="1166869" cy="3706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sv-SE" sz="1800" dirty="0"/>
              <a:t>Rättvik</a:t>
            </a: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071ACD77-1084-94B7-759C-FF441C98EB1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8432574"/>
              </p:ext>
            </p:extLst>
          </p:nvPr>
        </p:nvGraphicFramePr>
        <p:xfrm>
          <a:off x="6817609" y="3270354"/>
          <a:ext cx="4572000" cy="2647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id="{9D1BA356-9635-4534-B070-0F224250E076}"/>
              </a:ext>
            </a:extLst>
          </p:cNvPr>
          <p:cNvSpPr txBox="1">
            <a:spLocks/>
          </p:cNvSpPr>
          <p:nvPr/>
        </p:nvSpPr>
        <p:spPr>
          <a:xfrm>
            <a:off x="8689557" y="5875020"/>
            <a:ext cx="1166869" cy="3706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sv-SE" sz="1800" dirty="0"/>
              <a:t>Säter</a:t>
            </a:r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F3FA7768-99AB-4E39-A3DC-8333EEFE8EA6}"/>
              </a:ext>
            </a:extLst>
          </p:cNvPr>
          <p:cNvSpPr txBox="1">
            <a:spLocks/>
          </p:cNvSpPr>
          <p:nvPr/>
        </p:nvSpPr>
        <p:spPr>
          <a:xfrm>
            <a:off x="573330" y="2922682"/>
            <a:ext cx="1800115" cy="12123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sv-SE" sz="1800" dirty="0"/>
              <a:t>Kommunernas egna abonnemang</a:t>
            </a:r>
          </a:p>
        </p:txBody>
      </p:sp>
    </p:spTree>
    <p:extLst>
      <p:ext uri="{BB962C8B-B14F-4D97-AF65-F5344CB8AC3E}">
        <p14:creationId xmlns:p14="http://schemas.microsoft.com/office/powerpoint/2010/main" val="5743549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innehåll 2">
            <a:extLst>
              <a:ext uri="{FF2B5EF4-FFF2-40B4-BE49-F238E27FC236}">
                <a16:creationId xmlns:a16="http://schemas.microsoft.com/office/drawing/2014/main" id="{E0D4CAC7-310C-4831-BF9B-3220DC26DEE4}"/>
              </a:ext>
            </a:extLst>
          </p:cNvPr>
          <p:cNvSpPr txBox="1">
            <a:spLocks/>
          </p:cNvSpPr>
          <p:nvPr/>
        </p:nvSpPr>
        <p:spPr>
          <a:xfrm>
            <a:off x="877219" y="2165922"/>
            <a:ext cx="3749865" cy="24611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sv-SE" sz="1800" b="1" dirty="0"/>
              <a:t>Borlänge kommuns egna abonnemang</a:t>
            </a:r>
          </a:p>
          <a:p>
            <a:pPr marL="0" indent="0">
              <a:buNone/>
            </a:pPr>
            <a:r>
              <a:rPr lang="sv-SE" sz="1800" dirty="0"/>
              <a:t>12 största abonnemangen som är ca 20 % av totala årsförbrukningen. De som ingår är skolor, sporthallar, badhus, stadshuset, återvinningscentral och äldreboende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sz="1800" dirty="0"/>
          </a:p>
        </p:txBody>
      </p:sp>
      <p:graphicFrame>
        <p:nvGraphicFramePr>
          <p:cNvPr id="13" name="Chart 1">
            <a:extLst>
              <a:ext uri="{FF2B5EF4-FFF2-40B4-BE49-F238E27FC236}">
                <a16:creationId xmlns:a16="http://schemas.microsoft.com/office/drawing/2014/main" id="{3B4FD783-63DE-4607-8D32-3FEF878A42B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22094074"/>
              </p:ext>
            </p:extLst>
          </p:nvPr>
        </p:nvGraphicFramePr>
        <p:xfrm>
          <a:off x="5296863" y="1725979"/>
          <a:ext cx="5277908" cy="27229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4410585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innehåll 2">
            <a:extLst>
              <a:ext uri="{FF2B5EF4-FFF2-40B4-BE49-F238E27FC236}">
                <a16:creationId xmlns:a16="http://schemas.microsoft.com/office/drawing/2014/main" id="{E0D4CAC7-310C-4831-BF9B-3220DC26DEE4}"/>
              </a:ext>
            </a:extLst>
          </p:cNvPr>
          <p:cNvSpPr txBox="1">
            <a:spLocks/>
          </p:cNvSpPr>
          <p:nvPr/>
        </p:nvSpPr>
        <p:spPr>
          <a:xfrm>
            <a:off x="877219" y="2165922"/>
            <a:ext cx="3749865" cy="24611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sv-SE" sz="1800" b="1" dirty="0"/>
              <a:t>Hedemora kommuns alla egna abonnemang</a:t>
            </a:r>
          </a:p>
          <a:p>
            <a:pPr marL="0" indent="0">
              <a:buNone/>
            </a:pPr>
            <a:r>
              <a:rPr lang="sv-SE" sz="1800" dirty="0"/>
              <a:t>Tid på dygnet för de 12 högsta timuttagen på året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sz="1800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8ACB44E3-7225-4107-B920-D47D2C6FA7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122702"/>
              </p:ext>
            </p:extLst>
          </p:nvPr>
        </p:nvGraphicFramePr>
        <p:xfrm>
          <a:off x="5056742" y="1068635"/>
          <a:ext cx="5451514" cy="36686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7282095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Exempel storkök</a:t>
            </a:r>
            <a:endParaRPr lang="sv-SE" sz="2200" dirty="0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F8EAB0D5-2D0F-4F57-A9AF-260368FEC3AC}"/>
              </a:ext>
            </a:extLst>
          </p:cNvPr>
          <p:cNvSpPr txBox="1"/>
          <p:nvPr/>
        </p:nvSpPr>
        <p:spPr>
          <a:xfrm>
            <a:off x="859252" y="1768599"/>
            <a:ext cx="5508891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50" indent="0">
              <a:buNone/>
            </a:pPr>
            <a:r>
              <a:rPr lang="sv-SE" sz="2800" b="1" kern="0" dirty="0"/>
              <a:t>Få koll!</a:t>
            </a:r>
            <a:br>
              <a:rPr lang="sv-SE" sz="2800" b="1" kern="0" dirty="0"/>
            </a:br>
            <a:r>
              <a:rPr lang="sv-SE" sz="2200" kern="0" dirty="0"/>
              <a:t>Energikartläggning. Jämförelser. Uppföljning. </a:t>
            </a:r>
          </a:p>
        </p:txBody>
      </p:sp>
      <p:pic>
        <p:nvPicPr>
          <p:cNvPr id="8" name="Bild 16">
            <a:extLst>
              <a:ext uri="{FF2B5EF4-FFF2-40B4-BE49-F238E27FC236}">
                <a16:creationId xmlns:a16="http://schemas.microsoft.com/office/drawing/2014/main" id="{8AE98794-E03C-4531-859A-3A2EB90F56DE}"/>
              </a:ext>
            </a:extLst>
          </p:cNvPr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8556" y="3222170"/>
            <a:ext cx="3577044" cy="2943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Bild 7">
            <a:extLst>
              <a:ext uri="{FF2B5EF4-FFF2-40B4-BE49-F238E27FC236}">
                <a16:creationId xmlns:a16="http://schemas.microsoft.com/office/drawing/2014/main" id="{B45930DA-37C0-4C44-808C-743A65150421}"/>
              </a:ext>
            </a:extLst>
          </p:cNvPr>
          <p:cNvPicPr/>
          <p:nvPr/>
        </p:nvPicPr>
        <p:blipFill rotWithShape="1">
          <a:blip r:embed="rId4" cstate="print"/>
          <a:srcRect r="19034"/>
          <a:stretch/>
        </p:blipFill>
        <p:spPr bwMode="auto">
          <a:xfrm>
            <a:off x="4392206" y="3222170"/>
            <a:ext cx="3577044" cy="2943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Bild 10">
            <a:extLst>
              <a:ext uri="{FF2B5EF4-FFF2-40B4-BE49-F238E27FC236}">
                <a16:creationId xmlns:a16="http://schemas.microsoft.com/office/drawing/2014/main" id="{2B0140A2-0F72-4B01-8148-80519355E45A}"/>
              </a:ext>
            </a:extLst>
          </p:cNvPr>
          <p:cNvPicPr/>
          <p:nvPr/>
        </p:nvPicPr>
        <p:blipFill rotWithShape="1">
          <a:blip r:embed="rId5" cstate="print"/>
          <a:srcRect r="18848"/>
          <a:stretch/>
        </p:blipFill>
        <p:spPr bwMode="auto">
          <a:xfrm>
            <a:off x="8217811" y="3222170"/>
            <a:ext cx="3437163" cy="2943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Bild 13">
            <a:extLst>
              <a:ext uri="{FF2B5EF4-FFF2-40B4-BE49-F238E27FC236}">
                <a16:creationId xmlns:a16="http://schemas.microsoft.com/office/drawing/2014/main" id="{4FBA5552-FDEF-4A39-89E0-4DDE8B4D1834}"/>
              </a:ext>
            </a:extLst>
          </p:cNvPr>
          <p:cNvPicPr/>
          <p:nvPr/>
        </p:nvPicPr>
        <p:blipFill rotWithShape="1">
          <a:blip r:embed="rId6" cstate="print"/>
          <a:srcRect r="13375"/>
          <a:stretch/>
        </p:blipFill>
        <p:spPr bwMode="auto">
          <a:xfrm>
            <a:off x="6847115" y="365125"/>
            <a:ext cx="4702630" cy="2704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302BEA6E-B586-40BD-9FF6-5571E7E3597B}"/>
              </a:ext>
            </a:extLst>
          </p:cNvPr>
          <p:cNvSpPr txBox="1"/>
          <p:nvPr/>
        </p:nvSpPr>
        <p:spPr>
          <a:xfrm>
            <a:off x="1097280" y="5775154"/>
            <a:ext cx="3068321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sv-SE" sz="1200" dirty="0"/>
              <a:t>Skola A        Skola B         Skola C         Skola D</a:t>
            </a:r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2139D240-ED30-4394-831D-DFC251022E20}"/>
              </a:ext>
            </a:extLst>
          </p:cNvPr>
          <p:cNvSpPr txBox="1"/>
          <p:nvPr/>
        </p:nvSpPr>
        <p:spPr>
          <a:xfrm>
            <a:off x="4900929" y="5790663"/>
            <a:ext cx="3068321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sv-SE" sz="1200" dirty="0"/>
              <a:t>Skola A        Skola B         Skola C         Skola D</a:t>
            </a: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6EDD48F0-720C-4549-A50E-AC9CC4B462B4}"/>
              </a:ext>
            </a:extLst>
          </p:cNvPr>
          <p:cNvSpPr txBox="1"/>
          <p:nvPr/>
        </p:nvSpPr>
        <p:spPr>
          <a:xfrm>
            <a:off x="8730179" y="5804563"/>
            <a:ext cx="3068321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sv-SE" sz="1200" dirty="0"/>
              <a:t>Skola A        Skola B         Skola C         Skola D</a:t>
            </a:r>
          </a:p>
        </p:txBody>
      </p:sp>
    </p:spTree>
    <p:extLst>
      <p:ext uri="{BB962C8B-B14F-4D97-AF65-F5344CB8AC3E}">
        <p14:creationId xmlns:p14="http://schemas.microsoft.com/office/powerpoint/2010/main" val="118291084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Exempel storkök</a:t>
            </a:r>
            <a:endParaRPr lang="sv-SE" sz="2200" dirty="0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F8EAB0D5-2D0F-4F57-A9AF-260368FEC3AC}"/>
              </a:ext>
            </a:extLst>
          </p:cNvPr>
          <p:cNvSpPr txBox="1"/>
          <p:nvPr/>
        </p:nvSpPr>
        <p:spPr>
          <a:xfrm>
            <a:off x="859252" y="1768599"/>
            <a:ext cx="5508891" cy="4462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50"/>
            <a:r>
              <a:rPr lang="sv-SE" sz="2800" b="1" kern="0" dirty="0"/>
              <a:t>Energieffektivisera</a:t>
            </a:r>
          </a:p>
          <a:p>
            <a:pPr marL="514350" indent="-457200">
              <a:buFont typeface="Arial" panose="020B0604020202020204" pitchFamily="34" charset="0"/>
              <a:buChar char="•"/>
            </a:pPr>
            <a:r>
              <a:rPr lang="sv-SE" sz="2200" kern="0" dirty="0"/>
              <a:t>Beteende, exempel:</a:t>
            </a:r>
            <a:br>
              <a:rPr lang="sv-SE" sz="2200" kern="0" dirty="0"/>
            </a:br>
            <a:r>
              <a:rPr lang="sv-SE" sz="2200" kern="0" dirty="0"/>
              <a:t>- Öppning dörrar till kyl/frys</a:t>
            </a:r>
            <a:br>
              <a:rPr lang="sv-SE" sz="2200" kern="0" dirty="0"/>
            </a:br>
            <a:r>
              <a:rPr lang="sv-SE" sz="2200" kern="0" dirty="0"/>
              <a:t>- Använd ugnar istället för stekbord</a:t>
            </a:r>
            <a:br>
              <a:rPr lang="sv-SE" sz="2200" kern="0" dirty="0"/>
            </a:br>
            <a:endParaRPr lang="sv-SE" sz="1000" kern="0" dirty="0"/>
          </a:p>
          <a:p>
            <a:pPr marL="400050" indent="-342900">
              <a:buFont typeface="Arial" panose="020B0604020202020204" pitchFamily="34" charset="0"/>
              <a:buChar char="•"/>
            </a:pPr>
            <a:r>
              <a:rPr lang="sv-SE" sz="2200" kern="0" dirty="0"/>
              <a:t>Optimera/anpassa, exempel:</a:t>
            </a:r>
            <a:br>
              <a:rPr lang="sv-SE" sz="2200" kern="0" dirty="0"/>
            </a:br>
            <a:r>
              <a:rPr lang="sv-SE" sz="2200" kern="0" dirty="0"/>
              <a:t>- </a:t>
            </a:r>
            <a:r>
              <a:rPr lang="sv-SE" sz="2200" kern="0" dirty="0" err="1"/>
              <a:t>Behovstyr</a:t>
            </a:r>
            <a:r>
              <a:rPr lang="sv-SE" sz="2200" kern="0" dirty="0"/>
              <a:t> ventilation och belysning</a:t>
            </a:r>
            <a:br>
              <a:rPr lang="sv-SE" sz="2200" kern="0" dirty="0"/>
            </a:br>
            <a:r>
              <a:rPr lang="sv-SE" sz="2200" kern="0" dirty="0"/>
              <a:t>- Timer på serveringsdiskar kyla/värme</a:t>
            </a:r>
            <a:br>
              <a:rPr lang="sv-SE" sz="2200" kern="0" dirty="0"/>
            </a:br>
            <a:r>
              <a:rPr lang="sv-SE" sz="2200" kern="0" dirty="0"/>
              <a:t>- Stäng </a:t>
            </a:r>
            <a:r>
              <a:rPr lang="sv-SE" sz="2200" kern="0" dirty="0" err="1"/>
              <a:t>varmvattencirk</a:t>
            </a:r>
            <a:r>
              <a:rPr lang="sv-SE" sz="2200" kern="0" dirty="0"/>
              <a:t>. efter arbetstid </a:t>
            </a:r>
            <a:br>
              <a:rPr lang="sv-SE" sz="2200" kern="0" dirty="0"/>
            </a:br>
            <a:r>
              <a:rPr lang="sv-SE" sz="1600" kern="0" dirty="0"/>
              <a:t>(OBS Temp måste överstiga 60</a:t>
            </a:r>
            <a:r>
              <a:rPr lang="sv-SE" sz="1600" kern="0" baseline="30000" dirty="0"/>
              <a:t>o</a:t>
            </a:r>
            <a:r>
              <a:rPr lang="sv-SE" sz="1600" kern="0" dirty="0"/>
              <a:t>C minst en gång/vecka.)</a:t>
            </a:r>
            <a:br>
              <a:rPr lang="sv-SE" sz="1600" kern="0" dirty="0"/>
            </a:br>
            <a:endParaRPr lang="sv-SE" sz="1000" kern="0" dirty="0"/>
          </a:p>
          <a:p>
            <a:pPr marL="400050" indent="-342900">
              <a:buFont typeface="Arial" panose="020B0604020202020204" pitchFamily="34" charset="0"/>
              <a:buChar char="•"/>
            </a:pPr>
            <a:r>
              <a:rPr lang="sv-SE" sz="2200" kern="0" dirty="0"/>
              <a:t>Investeringar, exempel:</a:t>
            </a:r>
            <a:br>
              <a:rPr lang="sv-SE" sz="2200" kern="0" dirty="0"/>
            </a:br>
            <a:r>
              <a:rPr lang="sv-SE" sz="2200" kern="0" dirty="0"/>
              <a:t>- Värme, ventilation, LED, isolering, energieffektiv utrustning</a:t>
            </a:r>
          </a:p>
        </p:txBody>
      </p:sp>
      <p:pic>
        <p:nvPicPr>
          <p:cNvPr id="12" name="Bild 30">
            <a:extLst>
              <a:ext uri="{FF2B5EF4-FFF2-40B4-BE49-F238E27FC236}">
                <a16:creationId xmlns:a16="http://schemas.microsoft.com/office/drawing/2014/main" id="{04DDAD89-04EF-4579-9C4C-41D86143D369}"/>
              </a:ext>
            </a:extLst>
          </p:cNvPr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20691" y="1768599"/>
            <a:ext cx="5760720" cy="4199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545004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Exempel storkök</a:t>
            </a:r>
            <a:endParaRPr lang="sv-SE" sz="2200" dirty="0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F8EAB0D5-2D0F-4F57-A9AF-260368FEC3AC}"/>
              </a:ext>
            </a:extLst>
          </p:cNvPr>
          <p:cNvSpPr txBox="1"/>
          <p:nvPr/>
        </p:nvSpPr>
        <p:spPr>
          <a:xfrm>
            <a:off x="859252" y="1703283"/>
            <a:ext cx="5404398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50" indent="0">
              <a:buNone/>
            </a:pPr>
            <a:r>
              <a:rPr lang="sv-SE" sz="2800" b="1" kern="0" dirty="0"/>
              <a:t>Hushålla med effekt</a:t>
            </a:r>
          </a:p>
          <a:p>
            <a:pPr marL="57150" indent="0">
              <a:buNone/>
            </a:pPr>
            <a:r>
              <a:rPr lang="sv-SE" sz="2400" kern="0" dirty="0"/>
              <a:t>Stor maskinpark bidrar till kommunernas största effekttoppar på förmiddagar.</a:t>
            </a:r>
          </a:p>
        </p:txBody>
      </p:sp>
      <p:pic>
        <p:nvPicPr>
          <p:cNvPr id="37890" name="Picture 2">
            <a:extLst>
              <a:ext uri="{FF2B5EF4-FFF2-40B4-BE49-F238E27FC236}">
                <a16:creationId xmlns:a16="http://schemas.microsoft.com/office/drawing/2014/main" id="{6A36B95D-A247-442F-BC09-A8CE822716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0787" y="796696"/>
            <a:ext cx="5404398" cy="3602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F9F6D161-6E63-45FB-ACD0-484EF83FC80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2316" t="24160" r="2326" b="33301"/>
          <a:stretch/>
        </p:blipFill>
        <p:spPr>
          <a:xfrm>
            <a:off x="931822" y="3222170"/>
            <a:ext cx="5529943" cy="2917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04017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Exempel storkök</a:t>
            </a:r>
            <a:endParaRPr lang="sv-SE" sz="2200" dirty="0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F8EAB0D5-2D0F-4F57-A9AF-260368FEC3AC}"/>
              </a:ext>
            </a:extLst>
          </p:cNvPr>
          <p:cNvSpPr txBox="1"/>
          <p:nvPr/>
        </p:nvSpPr>
        <p:spPr>
          <a:xfrm>
            <a:off x="931822" y="1732311"/>
            <a:ext cx="466142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50" indent="0">
              <a:buNone/>
            </a:pPr>
            <a:r>
              <a:rPr lang="sv-SE" sz="2400" kern="0" dirty="0"/>
              <a:t>Visualisering av effektuttag för ändrat beteende;</a:t>
            </a:r>
            <a:br>
              <a:rPr lang="sv-SE" sz="2400" kern="0" dirty="0"/>
            </a:br>
            <a:r>
              <a:rPr lang="sv-SE" sz="2400" kern="0" dirty="0"/>
              <a:t>Grönt – Gul – Rätt vid toppar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3E898112-F79F-43CD-ABB4-A6B4BADEC74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428" t="27682" r="32794" b="11494"/>
          <a:stretch/>
        </p:blipFill>
        <p:spPr>
          <a:xfrm>
            <a:off x="6473372" y="438442"/>
            <a:ext cx="5225144" cy="2990558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BE9D5810-172C-4EAE-B05B-5F5DF30F669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056" t="30673" r="12827" b="6502"/>
          <a:stretch/>
        </p:blipFill>
        <p:spPr>
          <a:xfrm>
            <a:off x="991186" y="3206845"/>
            <a:ext cx="6695267" cy="2990558"/>
          </a:xfrm>
          <a:prstGeom prst="rect">
            <a:avLst/>
          </a:prstGeom>
        </p:spPr>
      </p:pic>
      <p:sp>
        <p:nvSpPr>
          <p:cNvPr id="15" name="textruta 14">
            <a:extLst>
              <a:ext uri="{FF2B5EF4-FFF2-40B4-BE49-F238E27FC236}">
                <a16:creationId xmlns:a16="http://schemas.microsoft.com/office/drawing/2014/main" id="{5D1A9A55-2E5F-48A6-B2C6-F91F9A452EAC}"/>
              </a:ext>
            </a:extLst>
          </p:cNvPr>
          <p:cNvSpPr txBox="1"/>
          <p:nvPr/>
        </p:nvSpPr>
        <p:spPr>
          <a:xfrm>
            <a:off x="8196223" y="3887681"/>
            <a:ext cx="315757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50" indent="0">
              <a:buNone/>
            </a:pPr>
            <a:r>
              <a:rPr lang="sv-SE" sz="2400" kern="0" dirty="0"/>
              <a:t>Ugnar ger korta och höga effekt-toppar</a:t>
            </a:r>
          </a:p>
        </p:txBody>
      </p:sp>
    </p:spTree>
    <p:extLst>
      <p:ext uri="{BB962C8B-B14F-4D97-AF65-F5344CB8AC3E}">
        <p14:creationId xmlns:p14="http://schemas.microsoft.com/office/powerpoint/2010/main" val="21822006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nergiintelligent Dalarna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1EC6837A-9E76-439A-BABE-C04DCD108D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6146" y="1190219"/>
            <a:ext cx="5044734" cy="5044734"/>
          </a:xfrm>
          <a:prstGeom prst="rect">
            <a:avLst/>
          </a:prstGeom>
        </p:spPr>
      </p:pic>
      <p:sp>
        <p:nvSpPr>
          <p:cNvPr id="8" name="Platshållare för innehåll 2">
            <a:extLst>
              <a:ext uri="{FF2B5EF4-FFF2-40B4-BE49-F238E27FC236}">
                <a16:creationId xmlns:a16="http://schemas.microsoft.com/office/drawing/2014/main" id="{870DA6B4-8835-47AE-BF47-80823290617B}"/>
              </a:ext>
            </a:extLst>
          </p:cNvPr>
          <p:cNvSpPr txBox="1">
            <a:spLocks/>
          </p:cNvSpPr>
          <p:nvPr/>
        </p:nvSpPr>
        <p:spPr>
          <a:xfrm>
            <a:off x="1021120" y="1916988"/>
            <a:ext cx="4694853" cy="38280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sv-SE" sz="1800" dirty="0"/>
          </a:p>
          <a:p>
            <a:r>
              <a:rPr lang="sv-SE" dirty="0"/>
              <a:t>Dalarnas energi- och klimatråd</a:t>
            </a:r>
          </a:p>
          <a:p>
            <a:r>
              <a:rPr lang="sv-SE" dirty="0"/>
              <a:t>Operativ samordningsgrupp</a:t>
            </a:r>
          </a:p>
          <a:p>
            <a:r>
              <a:rPr lang="sv-SE" dirty="0"/>
              <a:t>Färdplaner för varje sekto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sv-SE" dirty="0">
                <a:hlinkClick r:id="rId3"/>
              </a:rPr>
              <a:t>www.energiintelligent.se</a:t>
            </a:r>
            <a:endParaRPr lang="sv-SE" dirty="0"/>
          </a:p>
          <a:p>
            <a:pPr marL="0" indent="0">
              <a:buFont typeface="Arial" panose="020B0604020202020204" pitchFamily="34" charset="0"/>
              <a:buNone/>
            </a:pPr>
            <a:endParaRPr lang="sv-SE" dirty="0"/>
          </a:p>
          <a:p>
            <a:pPr marL="0" indent="0">
              <a:buFont typeface="Arial" panose="020B0604020202020204" pitchFamily="34" charset="0"/>
              <a:buNone/>
            </a:pPr>
            <a:endParaRPr lang="sv-SE" dirty="0"/>
          </a:p>
          <a:p>
            <a:pPr marL="0" indent="0">
              <a:buFont typeface="Arial" panose="020B0604020202020204" pitchFamily="34" charset="0"/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003281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Exempel storkök</a:t>
            </a:r>
            <a:endParaRPr lang="sv-SE" sz="2200" dirty="0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89C510A2-74DF-46F1-9A5B-FE68BFF3FFE7}"/>
              </a:ext>
            </a:extLst>
          </p:cNvPr>
          <p:cNvSpPr txBox="1"/>
          <p:nvPr/>
        </p:nvSpPr>
        <p:spPr>
          <a:xfrm>
            <a:off x="931822" y="1676891"/>
            <a:ext cx="10258692" cy="54476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50" indent="0">
              <a:buNone/>
            </a:pPr>
            <a:r>
              <a:rPr lang="sv-SE" sz="2800" b="1" kern="0" dirty="0"/>
              <a:t>Ändra beteende genom</a:t>
            </a:r>
            <a:br>
              <a:rPr lang="sv-SE" sz="2800" b="1" kern="0" dirty="0"/>
            </a:br>
            <a:r>
              <a:rPr lang="sv-SE" sz="2400" kern="0" dirty="0"/>
              <a:t>- starta ugnar vid spridda tider</a:t>
            </a:r>
            <a:br>
              <a:rPr lang="sv-SE" sz="2400" kern="0" dirty="0"/>
            </a:br>
            <a:r>
              <a:rPr lang="sv-SE" sz="2400" kern="0" dirty="0"/>
              <a:t>- köra ugnar på lägre effekt</a:t>
            </a:r>
            <a:br>
              <a:rPr lang="sv-SE" sz="2400" kern="0" dirty="0"/>
            </a:br>
            <a:r>
              <a:rPr lang="sv-SE" sz="2400" kern="0" dirty="0"/>
              <a:t>- inte starta andra maskiner samtidigt</a:t>
            </a:r>
            <a:br>
              <a:rPr lang="sv-SE" sz="2400" kern="0" dirty="0"/>
            </a:br>
            <a:r>
              <a:rPr lang="sv-SE" sz="2400" kern="0" dirty="0"/>
              <a:t>- stäng tillfälligt av kompressorer för kyl- och </a:t>
            </a:r>
            <a:br>
              <a:rPr lang="sv-SE" sz="2400" kern="0" dirty="0"/>
            </a:br>
            <a:r>
              <a:rPr lang="sv-SE" sz="2400" kern="0" dirty="0"/>
              <a:t>frysrum under höglasttimmar (15 min 2-3 ggr/dag)</a:t>
            </a:r>
            <a:br>
              <a:rPr lang="sv-SE" sz="2400" kern="0" dirty="0"/>
            </a:br>
            <a:r>
              <a:rPr lang="sv-SE" sz="2400" kern="0" dirty="0"/>
              <a:t>- maträtter för </a:t>
            </a:r>
            <a:r>
              <a:rPr lang="sv-SE" sz="2400" kern="0" dirty="0" err="1"/>
              <a:t>slow-cocking</a:t>
            </a:r>
            <a:r>
              <a:rPr lang="sv-SE" sz="2400" kern="0" dirty="0"/>
              <a:t> under natten</a:t>
            </a:r>
          </a:p>
          <a:p>
            <a:pPr marL="57150" indent="0">
              <a:buNone/>
            </a:pPr>
            <a:endParaRPr lang="sv-SE" sz="2400" b="1" kern="0" dirty="0"/>
          </a:p>
          <a:p>
            <a:pPr marL="57150" indent="0">
              <a:buNone/>
            </a:pPr>
            <a:r>
              <a:rPr lang="sv-SE" sz="2800" b="1" kern="0" dirty="0"/>
              <a:t>Vinster</a:t>
            </a:r>
          </a:p>
          <a:p>
            <a:pPr marL="57150" indent="0">
              <a:buNone/>
            </a:pPr>
            <a:r>
              <a:rPr lang="sv-SE" sz="2400" kern="0" dirty="0"/>
              <a:t>Höga säkringsabonnemang = höga kostnader</a:t>
            </a:r>
          </a:p>
          <a:p>
            <a:pPr marL="57150" indent="0">
              <a:buNone/>
            </a:pPr>
            <a:r>
              <a:rPr lang="sv-SE" sz="2400" kern="0" dirty="0"/>
              <a:t>Höga effektbehov = elnätet behöver dimensioneras efter maxnivån</a:t>
            </a:r>
          </a:p>
          <a:p>
            <a:pPr marL="57150" indent="0">
              <a:buNone/>
            </a:pPr>
            <a:r>
              <a:rPr lang="sv-SE" sz="2400" kern="0" dirty="0"/>
              <a:t>Sänkta effekttoppar = minskar behov av förstärkta elnät</a:t>
            </a:r>
          </a:p>
          <a:p>
            <a:pPr marL="57150" indent="0">
              <a:buNone/>
            </a:pPr>
            <a:endParaRPr lang="sv-SE" sz="2800" b="1" kern="0" dirty="0"/>
          </a:p>
          <a:p>
            <a:pPr marL="57150" indent="0">
              <a:buNone/>
            </a:pPr>
            <a:endParaRPr lang="sv-SE" sz="2400" kern="0" dirty="0"/>
          </a:p>
        </p:txBody>
      </p:sp>
      <p:pic>
        <p:nvPicPr>
          <p:cNvPr id="35844" name="Picture 4">
            <a:extLst>
              <a:ext uri="{FF2B5EF4-FFF2-40B4-BE49-F238E27FC236}">
                <a16:creationId xmlns:a16="http://schemas.microsoft.com/office/drawing/2014/main" id="{CE8D2E07-3C4F-4984-8FA6-CE1CE117F6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53" t="27213" r="20357" b="10927"/>
          <a:stretch/>
        </p:blipFill>
        <p:spPr bwMode="auto">
          <a:xfrm>
            <a:off x="7126514" y="820081"/>
            <a:ext cx="2331961" cy="2815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846" name="Picture 6">
            <a:extLst>
              <a:ext uri="{FF2B5EF4-FFF2-40B4-BE49-F238E27FC236}">
                <a16:creationId xmlns:a16="http://schemas.microsoft.com/office/drawing/2014/main" id="{733D766C-9099-48B2-A5FE-099D850B27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49" t="27301" r="20282" b="11111"/>
          <a:stretch/>
        </p:blipFill>
        <p:spPr bwMode="auto">
          <a:xfrm>
            <a:off x="9593941" y="815982"/>
            <a:ext cx="2331961" cy="2815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ruta 7">
            <a:extLst>
              <a:ext uri="{FF2B5EF4-FFF2-40B4-BE49-F238E27FC236}">
                <a16:creationId xmlns:a16="http://schemas.microsoft.com/office/drawing/2014/main" id="{A5C20289-6691-4F74-B871-ACA1973F132D}"/>
              </a:ext>
            </a:extLst>
          </p:cNvPr>
          <p:cNvSpPr txBox="1"/>
          <p:nvPr/>
        </p:nvSpPr>
        <p:spPr>
          <a:xfrm>
            <a:off x="8156331" y="3671879"/>
            <a:ext cx="376957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dirty="0">
                <a:solidFill>
                  <a:srgbClr val="676767"/>
                </a:solidFill>
                <a:latin typeface="GillSansStd"/>
              </a:rPr>
              <a:t>Före och efter i </a:t>
            </a:r>
            <a:r>
              <a:rPr lang="sv-SE" dirty="0" err="1">
                <a:solidFill>
                  <a:srgbClr val="676767"/>
                </a:solidFill>
                <a:latin typeface="GillSansStd"/>
              </a:rPr>
              <a:t>Uppskalaskola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027034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>
            <a:extLst>
              <a:ext uri="{FF2B5EF4-FFF2-40B4-BE49-F238E27FC236}">
                <a16:creationId xmlns:a16="http://schemas.microsoft.com/office/drawing/2014/main" id="{7F419674-DF6F-47A9-BCC3-D000276833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845" y="1910526"/>
            <a:ext cx="3646741" cy="4212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866" name="Picture 2">
            <a:extLst>
              <a:ext uri="{FF2B5EF4-FFF2-40B4-BE49-F238E27FC236}">
                <a16:creationId xmlns:a16="http://schemas.microsoft.com/office/drawing/2014/main" id="{1ECBEE19-D404-4963-8B70-50896D09CC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6626" y="1925044"/>
            <a:ext cx="3148528" cy="4198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ruta 6">
            <a:extLst>
              <a:ext uri="{FF2B5EF4-FFF2-40B4-BE49-F238E27FC236}">
                <a16:creationId xmlns:a16="http://schemas.microsoft.com/office/drawing/2014/main" id="{4C0594BD-9201-4CDE-B636-4B1FE1F10DC1}"/>
              </a:ext>
            </a:extLst>
          </p:cNvPr>
          <p:cNvSpPr txBox="1"/>
          <p:nvPr/>
        </p:nvSpPr>
        <p:spPr>
          <a:xfrm>
            <a:off x="412847" y="1286099"/>
            <a:ext cx="376957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b="0" i="0" dirty="0">
                <a:solidFill>
                  <a:srgbClr val="676767"/>
                </a:solidFill>
                <a:effectLst/>
                <a:latin typeface="GillSansStd"/>
              </a:rPr>
              <a:t>Här hittar du Reducerad effekt </a:t>
            </a:r>
            <a:br>
              <a:rPr lang="sv-SE" b="0" i="0" dirty="0">
                <a:solidFill>
                  <a:srgbClr val="676767"/>
                </a:solidFill>
                <a:effectLst/>
                <a:latin typeface="GillSansStd"/>
              </a:rPr>
            </a:br>
            <a:r>
              <a:rPr lang="sv-SE" b="0" i="0" dirty="0">
                <a:solidFill>
                  <a:srgbClr val="676767"/>
                </a:solidFill>
                <a:effectLst/>
                <a:latin typeface="GillSansStd"/>
              </a:rPr>
              <a:t>på </a:t>
            </a:r>
            <a:r>
              <a:rPr lang="sv-SE" b="0" i="0" dirty="0" err="1">
                <a:solidFill>
                  <a:srgbClr val="676767"/>
                </a:solidFill>
                <a:effectLst/>
                <a:latin typeface="GillSansStd"/>
              </a:rPr>
              <a:t>Rationals</a:t>
            </a:r>
            <a:r>
              <a:rPr lang="sv-SE" b="0" i="0" dirty="0">
                <a:solidFill>
                  <a:srgbClr val="676767"/>
                </a:solidFill>
                <a:effectLst/>
                <a:latin typeface="GillSansStd"/>
              </a:rPr>
              <a:t> ugnar:</a:t>
            </a:r>
            <a:endParaRPr lang="sv-SE" dirty="0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C839787C-E1AF-4A1E-883F-51FAA398A42D}"/>
              </a:ext>
            </a:extLst>
          </p:cNvPr>
          <p:cNvSpPr txBox="1"/>
          <p:nvPr/>
        </p:nvSpPr>
        <p:spPr>
          <a:xfrm>
            <a:off x="4521736" y="1309882"/>
            <a:ext cx="314852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b="0" i="0" dirty="0">
                <a:solidFill>
                  <a:srgbClr val="676767"/>
                </a:solidFill>
                <a:effectLst/>
                <a:latin typeface="GillSansStd"/>
              </a:rPr>
              <a:t>Här hittar du Reducerad effekt </a:t>
            </a:r>
            <a:br>
              <a:rPr lang="sv-SE" b="0" i="0" dirty="0">
                <a:solidFill>
                  <a:srgbClr val="676767"/>
                </a:solidFill>
                <a:effectLst/>
                <a:latin typeface="GillSansStd"/>
              </a:rPr>
            </a:br>
            <a:r>
              <a:rPr lang="sv-SE" b="0" i="0" dirty="0">
                <a:solidFill>
                  <a:srgbClr val="676767"/>
                </a:solidFill>
                <a:effectLst/>
                <a:latin typeface="GillSansStd"/>
              </a:rPr>
              <a:t>på Electrolux ugnar:</a:t>
            </a:r>
            <a:endParaRPr lang="sv-SE" dirty="0"/>
          </a:p>
        </p:txBody>
      </p:sp>
      <p:pic>
        <p:nvPicPr>
          <p:cNvPr id="36868" name="Picture 4">
            <a:extLst>
              <a:ext uri="{FF2B5EF4-FFF2-40B4-BE49-F238E27FC236}">
                <a16:creationId xmlns:a16="http://schemas.microsoft.com/office/drawing/2014/main" id="{9C3160EF-0C35-4A24-8BAA-FE656D80AD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9394" y="1910526"/>
            <a:ext cx="3148528" cy="4198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ruta 11">
            <a:extLst>
              <a:ext uri="{FF2B5EF4-FFF2-40B4-BE49-F238E27FC236}">
                <a16:creationId xmlns:a16="http://schemas.microsoft.com/office/drawing/2014/main" id="{C31F5B47-3A24-4BD3-B7B6-67A756019A6C}"/>
              </a:ext>
            </a:extLst>
          </p:cNvPr>
          <p:cNvSpPr txBox="1"/>
          <p:nvPr/>
        </p:nvSpPr>
        <p:spPr>
          <a:xfrm>
            <a:off x="8125696" y="1281638"/>
            <a:ext cx="303145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sv-SE" b="0" i="0" dirty="0">
                <a:solidFill>
                  <a:srgbClr val="676767"/>
                </a:solidFill>
                <a:effectLst/>
                <a:latin typeface="GillSansStd"/>
              </a:rPr>
              <a:t>Här hittar du reducerad effekt på en äldre Electrolux-ugn:</a:t>
            </a:r>
            <a:endParaRPr lang="sv-SE" dirty="0"/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D173F9C7-7CDD-419B-8C15-2927106D83D7}"/>
              </a:ext>
            </a:extLst>
          </p:cNvPr>
          <p:cNvSpPr txBox="1"/>
          <p:nvPr/>
        </p:nvSpPr>
        <p:spPr>
          <a:xfrm>
            <a:off x="412847" y="280881"/>
            <a:ext cx="1025869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50" indent="0">
              <a:buNone/>
            </a:pPr>
            <a:r>
              <a:rPr lang="sv-SE" sz="2800" b="1" kern="0" dirty="0"/>
              <a:t>Effektsmart matlagning: </a:t>
            </a:r>
            <a:br>
              <a:rPr lang="sv-SE" sz="2800" b="1" kern="0" dirty="0"/>
            </a:br>
            <a:r>
              <a:rPr lang="sv-SE" sz="2800" b="1" kern="0" dirty="0"/>
              <a:t>Laga mat på reducerad effekt redan i befintliga ugnar</a:t>
            </a:r>
            <a:endParaRPr lang="sv-SE" sz="2400" kern="0" dirty="0"/>
          </a:p>
        </p:txBody>
      </p:sp>
    </p:spTree>
    <p:extLst>
      <p:ext uri="{BB962C8B-B14F-4D97-AF65-F5344CB8AC3E}">
        <p14:creationId xmlns:p14="http://schemas.microsoft.com/office/powerpoint/2010/main" val="6158453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1E819A8-E324-415E-8B48-8A197C1A91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3947" y="1985581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sv-SE" sz="3000" dirty="0"/>
              <a:t>www.energiintelligent.se/platta-kurvan</a:t>
            </a:r>
          </a:p>
        </p:txBody>
      </p:sp>
    </p:spTree>
    <p:extLst>
      <p:ext uri="{BB962C8B-B14F-4D97-AF65-F5344CB8AC3E}">
        <p14:creationId xmlns:p14="http://schemas.microsoft.com/office/powerpoint/2010/main" val="301592410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Exempel på åtgärder</a:t>
            </a:r>
            <a:endParaRPr lang="sv-SE" sz="2200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A6628643-BF67-40F4-B319-E749829F33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47293" y="365125"/>
            <a:ext cx="2506507" cy="2207056"/>
          </a:xfrm>
          <a:prstGeom prst="rect">
            <a:avLst/>
          </a:prstGeom>
        </p:spPr>
      </p:pic>
      <p:sp>
        <p:nvSpPr>
          <p:cNvPr id="9" name="textruta 8">
            <a:extLst>
              <a:ext uri="{FF2B5EF4-FFF2-40B4-BE49-F238E27FC236}">
                <a16:creationId xmlns:a16="http://schemas.microsoft.com/office/drawing/2014/main" id="{33062E7D-DDF3-456B-A18C-B425E7616A32}"/>
              </a:ext>
            </a:extLst>
          </p:cNvPr>
          <p:cNvSpPr txBox="1"/>
          <p:nvPr/>
        </p:nvSpPr>
        <p:spPr>
          <a:xfrm>
            <a:off x="838200" y="2115811"/>
            <a:ext cx="8935720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sv-SE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Exempel på åtgärder i kommunala verksamheter:</a:t>
            </a:r>
          </a:p>
          <a:p>
            <a:pPr marL="342900" indent="-342900">
              <a:buFontTx/>
              <a:buChar char="-"/>
            </a:pPr>
            <a:r>
              <a:rPr lang="sv-SE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Kontor</a:t>
            </a:r>
          </a:p>
          <a:p>
            <a:pPr marL="342900" indent="-342900">
              <a:buFontTx/>
              <a:buChar char="-"/>
            </a:pPr>
            <a:r>
              <a:rPr lang="sv-SE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Gymnastikhallar</a:t>
            </a:r>
          </a:p>
          <a:p>
            <a:pPr marL="342900" indent="-342900">
              <a:buFontTx/>
              <a:buChar char="-"/>
            </a:pPr>
            <a:r>
              <a:rPr lang="sv-SE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Simhallar</a:t>
            </a:r>
          </a:p>
          <a:p>
            <a:pPr marL="342900" indent="-342900">
              <a:buFontTx/>
              <a:buChar char="-"/>
            </a:pPr>
            <a:r>
              <a:rPr lang="sv-SE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Ishallar</a:t>
            </a:r>
          </a:p>
          <a:p>
            <a:pPr marL="342900" indent="-342900">
              <a:buFontTx/>
              <a:buChar char="-"/>
            </a:pPr>
            <a:r>
              <a:rPr lang="sv-SE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Storkök</a:t>
            </a:r>
          </a:p>
          <a:p>
            <a:pPr marL="342900" indent="-342900">
              <a:buFontTx/>
              <a:buChar char="-"/>
            </a:pPr>
            <a:r>
              <a:rPr lang="sv-SE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Gatubelysning</a:t>
            </a:r>
          </a:p>
          <a:p>
            <a:pPr marL="342900" indent="-342900">
              <a:buFontTx/>
              <a:buChar char="-"/>
            </a:pPr>
            <a:r>
              <a:rPr lang="sv-SE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Bostäder</a:t>
            </a:r>
          </a:p>
          <a:p>
            <a:endParaRPr lang="sv-SE" dirty="0"/>
          </a:p>
          <a:p>
            <a:pPr marL="0" indent="0">
              <a:buNone/>
            </a:pPr>
            <a:endParaRPr lang="sv-SE" sz="24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932849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147B7BC-D9F9-F24A-9C92-549FFE98A30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TACK!</a:t>
            </a: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BCF663AF-0F67-4CD6-9D64-CF2CB7C479CE}"/>
              </a:ext>
            </a:extLst>
          </p:cNvPr>
          <p:cNvSpPr txBox="1"/>
          <p:nvPr/>
        </p:nvSpPr>
        <p:spPr>
          <a:xfrm>
            <a:off x="4402989" y="3459454"/>
            <a:ext cx="5556259" cy="16970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sv-SE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Marit Ragnarsson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sv-SE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010-225 03 82</a:t>
            </a:r>
          </a:p>
          <a:p>
            <a:pPr>
              <a:lnSpc>
                <a:spcPct val="150000"/>
              </a:lnSpc>
            </a:pPr>
            <a:r>
              <a:rPr lang="sv-SE" sz="2400" dirty="0">
                <a:ea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marit.ragnarsson@lansstyrelsen.se</a:t>
            </a:r>
            <a:r>
              <a:rPr lang="sv-SE" sz="2400" dirty="0">
                <a:ea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9760728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nergiintelligent Dalarna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86C1B0EE-801D-4BDE-9C08-A05BDFE167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254660">
            <a:off x="4383788" y="1672362"/>
            <a:ext cx="3300279" cy="4599766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  <p:pic>
        <p:nvPicPr>
          <p:cNvPr id="10" name="Bildobjekt 9">
            <a:extLst>
              <a:ext uri="{FF2B5EF4-FFF2-40B4-BE49-F238E27FC236}">
                <a16:creationId xmlns:a16="http://schemas.microsoft.com/office/drawing/2014/main" id="{E91DEFE1-16B5-4575-957E-EFE45861A0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319072">
            <a:off x="592573" y="1590323"/>
            <a:ext cx="3483918" cy="4511740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033250C4-6897-485A-816A-54C1B2225A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42651">
            <a:off x="7949942" y="1331153"/>
            <a:ext cx="3553522" cy="504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8000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70A6CE8-9D2E-46A2-ADE5-0DC00BC11C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0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70A6CE8-9D2E-46A2-ADE5-0DC00BC11C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C97303B2-606B-4FD1-90C7-6C31228A1F1B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C420224-715A-45FF-B6BF-59CB1DF5BD02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8703139C-4138-4946-95F9-B70ACD1036E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58967" y="562206"/>
            <a:ext cx="7880465" cy="5422669"/>
          </a:xfrm>
          <a:prstGeom prst="rect">
            <a:avLst/>
          </a:prstGeom>
        </p:spPr>
      </p:pic>
      <p:sp>
        <p:nvSpPr>
          <p:cNvPr id="14" name="Pratbubbla: rad 13">
            <a:extLst>
              <a:ext uri="{FF2B5EF4-FFF2-40B4-BE49-F238E27FC236}">
                <a16:creationId xmlns:a16="http://schemas.microsoft.com/office/drawing/2014/main" id="{3D5D1B2F-F10F-4F99-8B2C-AE0EF6E951A5}"/>
              </a:ext>
            </a:extLst>
          </p:cNvPr>
          <p:cNvSpPr/>
          <p:nvPr/>
        </p:nvSpPr>
        <p:spPr bwMode="auto">
          <a:xfrm>
            <a:off x="6720275" y="2213829"/>
            <a:ext cx="1099536" cy="352203"/>
          </a:xfrm>
          <a:prstGeom prst="borderCallout1">
            <a:avLst>
              <a:gd name="adj1" fmla="val 101213"/>
              <a:gd name="adj2" fmla="val 34630"/>
              <a:gd name="adj3" fmla="val 151002"/>
              <a:gd name="adj4" fmla="val 33544"/>
            </a:avLst>
          </a:prstGeom>
          <a:noFill/>
          <a:ln w="9525" cap="flat" cmpd="sng" algn="ctr">
            <a:solidFill>
              <a:srgbClr val="000000">
                <a:alpha val="47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Delmål för energi-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ffektivisering</a:t>
            </a:r>
          </a:p>
        </p:txBody>
      </p:sp>
      <p:sp>
        <p:nvSpPr>
          <p:cNvPr id="15" name="Pratbubbla: rad 14">
            <a:extLst>
              <a:ext uri="{FF2B5EF4-FFF2-40B4-BE49-F238E27FC236}">
                <a16:creationId xmlns:a16="http://schemas.microsoft.com/office/drawing/2014/main" id="{86E7BBB5-0B80-429C-96A7-A901479DD5D3}"/>
              </a:ext>
            </a:extLst>
          </p:cNvPr>
          <p:cNvSpPr/>
          <p:nvPr/>
        </p:nvSpPr>
        <p:spPr bwMode="auto">
          <a:xfrm>
            <a:off x="9833033" y="561026"/>
            <a:ext cx="1244053" cy="680942"/>
          </a:xfrm>
          <a:prstGeom prst="borderCallout1">
            <a:avLst>
              <a:gd name="adj1" fmla="val 101213"/>
              <a:gd name="adj2" fmla="val 26482"/>
              <a:gd name="adj3" fmla="val 157016"/>
              <a:gd name="adj4" fmla="val -5845"/>
            </a:avLst>
          </a:prstGeom>
          <a:noFill/>
          <a:ln w="9525" cap="flat" cmpd="sng" algn="ctr">
            <a:solidFill>
              <a:srgbClr val="000000">
                <a:alpha val="39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ehov av energi- </a:t>
            </a:r>
            <a:br>
              <a:rPr kumimoji="0" lang="sv-SE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</a:br>
            <a:r>
              <a:rPr kumimoji="0" lang="sv-SE" sz="1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effektivisering för att nå självförsörjning</a:t>
            </a:r>
          </a:p>
        </p:txBody>
      </p:sp>
    </p:spTree>
    <p:extLst>
      <p:ext uri="{BB962C8B-B14F-4D97-AF65-F5344CB8AC3E}">
        <p14:creationId xmlns:p14="http://schemas.microsoft.com/office/powerpoint/2010/main" val="23779405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illsammans förhindrar vi energikris denna vinter</a:t>
            </a: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5C29D2BB-F12D-A949-B63A-3EC16672FE75}"/>
              </a:ext>
            </a:extLst>
          </p:cNvPr>
          <p:cNvSpPr txBox="1"/>
          <p:nvPr/>
        </p:nvSpPr>
        <p:spPr>
          <a:xfrm>
            <a:off x="846667" y="1815872"/>
            <a:ext cx="10617200" cy="483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sv-SE" sz="2800" b="0" i="0" dirty="0">
                <a:solidFill>
                  <a:srgbClr val="222222"/>
                </a:solidFill>
                <a:effectLst/>
              </a:rPr>
              <a:t>EU:s sparpaket som gäller för alla medlemsländer:</a:t>
            </a:r>
            <a:br>
              <a:rPr lang="sv-SE" sz="2800" b="0" i="0" dirty="0">
                <a:solidFill>
                  <a:srgbClr val="222222"/>
                </a:solidFill>
                <a:effectLst/>
              </a:rPr>
            </a:br>
            <a:endParaRPr lang="sv-SE" sz="2800" dirty="0">
              <a:solidFill>
                <a:srgbClr val="22222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sv-SE" sz="2800" b="0" i="0" dirty="0">
                <a:solidFill>
                  <a:srgbClr val="222222"/>
                </a:solidFill>
                <a:effectLst/>
              </a:rPr>
              <a:t>Minska energiförbrukningen under de 10 % av timmarna mellan </a:t>
            </a:r>
            <a:br>
              <a:rPr lang="sv-SE" sz="2800" b="0" i="0" dirty="0">
                <a:solidFill>
                  <a:srgbClr val="222222"/>
                </a:solidFill>
                <a:effectLst/>
              </a:rPr>
            </a:br>
            <a:r>
              <a:rPr lang="sv-SE" sz="2800" b="0" i="0" dirty="0">
                <a:solidFill>
                  <a:srgbClr val="222222"/>
                </a:solidFill>
                <a:effectLst/>
              </a:rPr>
              <a:t>1 december 2022 – 31 mars 2023 då lasten är som högst. </a:t>
            </a:r>
            <a:br>
              <a:rPr lang="sv-SE" sz="2800" b="0" i="0" dirty="0">
                <a:solidFill>
                  <a:srgbClr val="222222"/>
                </a:solidFill>
                <a:effectLst/>
              </a:rPr>
            </a:br>
            <a:r>
              <a:rPr lang="sv-SE" sz="2800" b="0" i="0" dirty="0">
                <a:solidFill>
                  <a:srgbClr val="222222"/>
                </a:solidFill>
                <a:effectLst/>
              </a:rPr>
              <a:t>Minskningen ska i genomsnitt vara 5 % på dessa timmar.</a:t>
            </a:r>
            <a:br>
              <a:rPr lang="sv-SE" sz="2800" b="0" i="0" dirty="0">
                <a:solidFill>
                  <a:srgbClr val="222222"/>
                </a:solidFill>
                <a:effectLst/>
              </a:rPr>
            </a:br>
            <a:r>
              <a:rPr lang="sv-SE" sz="2800" b="1" i="0" dirty="0">
                <a:solidFill>
                  <a:srgbClr val="222222"/>
                </a:solidFill>
                <a:effectLst/>
              </a:rPr>
              <a:t>kW</a:t>
            </a:r>
            <a:br>
              <a:rPr lang="sv-SE" sz="2800" b="0" i="0" dirty="0">
                <a:solidFill>
                  <a:srgbClr val="222222"/>
                </a:solidFill>
                <a:effectLst/>
              </a:rPr>
            </a:br>
            <a:endParaRPr lang="sv-SE" sz="2800" b="0" i="0" dirty="0">
              <a:solidFill>
                <a:srgbClr val="222222"/>
              </a:solidFill>
              <a:effectLst/>
            </a:endParaRP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sv-SE" sz="2800" b="0" i="0" dirty="0">
                <a:solidFill>
                  <a:srgbClr val="222222"/>
                </a:solidFill>
                <a:effectLst/>
              </a:rPr>
              <a:t>S</a:t>
            </a:r>
            <a:r>
              <a:rPr lang="sv-SE" sz="2800" dirty="0">
                <a:solidFill>
                  <a:srgbClr val="222222"/>
                </a:solidFill>
              </a:rPr>
              <a:t>träva efter att minska den totala efterfrågan på el med minst 10 procent. </a:t>
            </a:r>
            <a:br>
              <a:rPr lang="sv-SE" sz="2800" dirty="0">
                <a:solidFill>
                  <a:srgbClr val="222222"/>
                </a:solidFill>
              </a:rPr>
            </a:br>
            <a:r>
              <a:rPr lang="sv-SE" sz="2800" b="1" dirty="0">
                <a:solidFill>
                  <a:srgbClr val="222222"/>
                </a:solidFill>
              </a:rPr>
              <a:t>kWh</a:t>
            </a:r>
            <a:endParaRPr lang="sv-SE" sz="2800" b="1" i="0" dirty="0">
              <a:solidFill>
                <a:srgbClr val="222222"/>
              </a:solidFill>
              <a:effectLst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2800" b="1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382573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Både kWh och kW</a:t>
            </a: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5C29D2BB-F12D-A949-B63A-3EC16672FE75}"/>
              </a:ext>
            </a:extLst>
          </p:cNvPr>
          <p:cNvSpPr txBox="1"/>
          <p:nvPr/>
        </p:nvSpPr>
        <p:spPr>
          <a:xfrm>
            <a:off x="846667" y="1706815"/>
            <a:ext cx="5052814" cy="48936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sv-SE" sz="2400" b="1" dirty="0">
                <a:solidFill>
                  <a:srgbClr val="000000"/>
                </a:solidFill>
                <a:latin typeface="Arial" panose="020B0604020202020204" pitchFamily="34" charset="0"/>
              </a:rPr>
              <a:t>ENERGIHUSHÅLLNING</a:t>
            </a:r>
          </a:p>
          <a:p>
            <a:pPr marL="0" indent="0">
              <a:buNone/>
            </a:pPr>
            <a:endParaRPr lang="sv-SE" sz="240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sv-SE" sz="2400" b="1" dirty="0">
                <a:solidFill>
                  <a:srgbClr val="000000"/>
                </a:solidFill>
                <a:latin typeface="Arial" panose="020B0604020202020204" pitchFamily="34" charset="0"/>
              </a:rPr>
              <a:t>Energieffektivisering</a:t>
            </a:r>
            <a:br>
              <a:rPr lang="sv-SE" sz="2400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sv-SE" sz="2400" dirty="0">
                <a:solidFill>
                  <a:srgbClr val="000000"/>
                </a:solidFill>
                <a:latin typeface="Arial" panose="020B0604020202020204" pitchFamily="34" charset="0"/>
              </a:rPr>
              <a:t>Samma funktion/tjänst med mindre mängd energi</a:t>
            </a:r>
            <a:br>
              <a:rPr lang="sv-SE" sz="2400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sv-SE" sz="2400" dirty="0">
                <a:solidFill>
                  <a:srgbClr val="000000"/>
                </a:solidFill>
                <a:latin typeface="Arial" panose="020B0604020202020204" pitchFamily="34" charset="0"/>
              </a:rPr>
              <a:t>Ex byta till LED, isolera hus</a:t>
            </a:r>
          </a:p>
          <a:p>
            <a:pPr marL="0" indent="0">
              <a:buNone/>
            </a:pPr>
            <a:endParaRPr lang="sv-SE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sv-SE" sz="2400" b="1" dirty="0">
                <a:solidFill>
                  <a:srgbClr val="000000"/>
                </a:solidFill>
                <a:latin typeface="Arial" panose="020B0604020202020204" pitchFamily="34" charset="0"/>
              </a:rPr>
              <a:t>Energibesparing</a:t>
            </a:r>
          </a:p>
          <a:p>
            <a:pPr marL="0" indent="0">
              <a:buNone/>
            </a:pPr>
            <a:r>
              <a:rPr lang="sv-SE" sz="2400" dirty="0">
                <a:solidFill>
                  <a:srgbClr val="000000"/>
                </a:solidFill>
                <a:latin typeface="Arial" panose="020B0604020202020204" pitchFamily="34" charset="0"/>
              </a:rPr>
              <a:t>Använda en funktion/tjänst mindre </a:t>
            </a:r>
            <a:br>
              <a:rPr lang="sv-SE" sz="2400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sv-SE" sz="2400" dirty="0">
                <a:solidFill>
                  <a:srgbClr val="000000"/>
                </a:solidFill>
                <a:latin typeface="Arial" panose="020B0604020202020204" pitchFamily="34" charset="0"/>
              </a:rPr>
              <a:t>Ex släcka lampan, sänk temperatur</a:t>
            </a:r>
          </a:p>
          <a:p>
            <a:pPr marL="0" indent="0">
              <a:buNone/>
            </a:pPr>
            <a:endParaRPr lang="sv-SE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sv-SE" sz="2400" dirty="0">
                <a:solidFill>
                  <a:srgbClr val="000000"/>
                </a:solidFill>
                <a:latin typeface="Arial" panose="020B0604020202020204" pitchFamily="34" charset="0"/>
              </a:rPr>
              <a:t>Kilowattimmar, </a:t>
            </a:r>
            <a:r>
              <a:rPr lang="sv-SE" sz="2400" b="1" dirty="0">
                <a:solidFill>
                  <a:srgbClr val="000000"/>
                </a:solidFill>
                <a:latin typeface="Arial" panose="020B0604020202020204" pitchFamily="34" charset="0"/>
              </a:rPr>
              <a:t>kWh</a:t>
            </a: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1BD5CBF5-9A5B-4F0D-A405-82C5088DAEF1}"/>
              </a:ext>
            </a:extLst>
          </p:cNvPr>
          <p:cNvSpPr txBox="1"/>
          <p:nvPr/>
        </p:nvSpPr>
        <p:spPr>
          <a:xfrm>
            <a:off x="5981350" y="1706815"/>
            <a:ext cx="5052814" cy="48936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sv-SE" sz="2400" b="1" dirty="0">
                <a:solidFill>
                  <a:srgbClr val="000000"/>
                </a:solidFill>
                <a:latin typeface="Arial" panose="020B0604020202020204" pitchFamily="34" charset="0"/>
              </a:rPr>
              <a:t>EFFEKTHUSHÅLLNING</a:t>
            </a:r>
          </a:p>
          <a:p>
            <a:pPr marL="0" indent="0">
              <a:buNone/>
            </a:pPr>
            <a:endParaRPr lang="sv-SE" sz="2400" b="1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sv-SE" sz="2400" b="1" dirty="0">
                <a:solidFill>
                  <a:srgbClr val="000000"/>
                </a:solidFill>
                <a:latin typeface="Arial" panose="020B0604020202020204" pitchFamily="34" charset="0"/>
              </a:rPr>
              <a:t>Använda mindre effekt</a:t>
            </a:r>
            <a:br>
              <a:rPr lang="sv-SE" sz="2400" dirty="0">
                <a:solidFill>
                  <a:srgbClr val="000000"/>
                </a:solidFill>
                <a:latin typeface="Arial" panose="020B0604020202020204" pitchFamily="34" charset="0"/>
              </a:rPr>
            </a:br>
            <a:r>
              <a:rPr lang="sv-SE" sz="2400" dirty="0">
                <a:solidFill>
                  <a:srgbClr val="000000"/>
                </a:solidFill>
                <a:latin typeface="Arial" panose="020B0604020202020204" pitchFamily="34" charset="0"/>
              </a:rPr>
              <a:t>Energieffektivisering/besparing vid höglasttimmar</a:t>
            </a:r>
          </a:p>
          <a:p>
            <a:pPr marL="0" indent="0">
              <a:buNone/>
            </a:pPr>
            <a:endParaRPr lang="sv-SE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sv-SE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sv-SE" sz="2400" b="1" dirty="0">
                <a:solidFill>
                  <a:srgbClr val="000000"/>
                </a:solidFill>
                <a:latin typeface="Arial" panose="020B0604020202020204" pitchFamily="34" charset="0"/>
              </a:rPr>
              <a:t>Flytta effektuttag över tid</a:t>
            </a:r>
          </a:p>
          <a:p>
            <a:pPr marL="0" indent="0">
              <a:buNone/>
            </a:pPr>
            <a:r>
              <a:rPr lang="sv-SE" sz="2400" dirty="0">
                <a:solidFill>
                  <a:srgbClr val="000000"/>
                </a:solidFill>
                <a:latin typeface="Arial" panose="020B0604020202020204" pitchFamily="34" charset="0"/>
              </a:rPr>
              <a:t>Använda energi vid ett annan tid</a:t>
            </a:r>
          </a:p>
          <a:p>
            <a:pPr marL="0" indent="0">
              <a:buNone/>
            </a:pPr>
            <a:endParaRPr lang="sv-SE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sv-SE" sz="24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sv-SE" sz="2400" dirty="0">
                <a:solidFill>
                  <a:srgbClr val="000000"/>
                </a:solidFill>
                <a:latin typeface="Arial" panose="020B0604020202020204" pitchFamily="34" charset="0"/>
              </a:rPr>
              <a:t>Kilowatt, </a:t>
            </a:r>
            <a:r>
              <a:rPr lang="sv-SE" sz="2400" b="1" dirty="0">
                <a:solidFill>
                  <a:srgbClr val="000000"/>
                </a:solidFill>
                <a:latin typeface="Arial" panose="020B0604020202020204" pitchFamily="34" charset="0"/>
              </a:rPr>
              <a:t>kW</a:t>
            </a:r>
          </a:p>
          <a:p>
            <a:pPr marL="342900" marR="0" lvl="0" indent="-342900" algn="l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73012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6852" y="524516"/>
            <a:ext cx="9206948" cy="1325563"/>
          </a:xfrm>
        </p:spPr>
        <p:txBody>
          <a:bodyPr>
            <a:normAutofit fontScale="90000"/>
          </a:bodyPr>
          <a:lstStyle/>
          <a:p>
            <a:r>
              <a:rPr lang="sv-SE" sz="3200" b="1" kern="0" dirty="0"/>
              <a:t>Energimyndighetens kampanj</a:t>
            </a:r>
            <a:br>
              <a:rPr lang="sv-SE" sz="3200" b="1" kern="0" dirty="0"/>
            </a:br>
            <a:br>
              <a:rPr lang="sv-SE" sz="1600" b="1" kern="0" dirty="0"/>
            </a:br>
            <a:r>
              <a:rPr lang="sv-SE" sz="4400" b="1" kern="0" dirty="0"/>
              <a:t>Varje watt räknas! </a:t>
            </a:r>
            <a:endParaRPr lang="sv-SE" dirty="0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061751F-931B-49B3-9A5B-949E30CA56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3585" y="2517436"/>
            <a:ext cx="6145406" cy="2490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1000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FC641A1C-379A-41D6-82AA-BF9551EE8F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6852" y="524516"/>
            <a:ext cx="9206948" cy="1325563"/>
          </a:xfrm>
        </p:spPr>
        <p:txBody>
          <a:bodyPr>
            <a:normAutofit/>
          </a:bodyPr>
          <a:lstStyle/>
          <a:p>
            <a:r>
              <a:rPr lang="sv-SE" sz="3200" kern="0" dirty="0"/>
              <a:t>Elanvändning, Sverige</a:t>
            </a:r>
            <a:r>
              <a:rPr lang="sv-SE" sz="4400" b="1" kern="0" dirty="0"/>
              <a:t> </a:t>
            </a:r>
            <a:endParaRPr lang="sv-SE" dirty="0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C6F6F739-7CC1-4E7E-B04B-03563C82EE5A}"/>
              </a:ext>
            </a:extLst>
          </p:cNvPr>
          <p:cNvSpPr txBox="1"/>
          <p:nvPr/>
        </p:nvSpPr>
        <p:spPr>
          <a:xfrm>
            <a:off x="2146852" y="1848056"/>
            <a:ext cx="8380521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2800" dirty="0">
                <a:hlinkClick r:id="rId3"/>
              </a:rPr>
              <a:t>https://www.svk.se/om-kraftsystemet/kontrollrummet</a:t>
            </a:r>
            <a:endParaRPr lang="sv-SE" sz="2800" dirty="0"/>
          </a:p>
          <a:p>
            <a:endParaRPr lang="sv-SE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97AAA3A3-8F52-4096-AD34-01DCA6F9B95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1343"/>
          <a:stretch/>
        </p:blipFill>
        <p:spPr>
          <a:xfrm>
            <a:off x="2264228" y="2855935"/>
            <a:ext cx="6272064" cy="2917782"/>
          </a:xfrm>
          <a:prstGeom prst="rect">
            <a:avLst/>
          </a:prstGeom>
        </p:spPr>
      </p:pic>
      <p:sp>
        <p:nvSpPr>
          <p:cNvPr id="9" name="Rubrik 5">
            <a:extLst>
              <a:ext uri="{FF2B5EF4-FFF2-40B4-BE49-F238E27FC236}">
                <a16:creationId xmlns:a16="http://schemas.microsoft.com/office/drawing/2014/main" id="{DC48B877-F431-4C1C-A538-1DC971B12556}"/>
              </a:ext>
            </a:extLst>
          </p:cNvPr>
          <p:cNvSpPr txBox="1">
            <a:spLocks/>
          </p:cNvSpPr>
          <p:nvPr/>
        </p:nvSpPr>
        <p:spPr>
          <a:xfrm>
            <a:off x="8719172" y="3698791"/>
            <a:ext cx="1661445" cy="7164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DB6E03"/>
                </a:solidFill>
                <a:latin typeface="Eras Medium ITC" panose="020B0602030504020804" pitchFamily="34" charset="77"/>
                <a:ea typeface="+mj-ea"/>
                <a:cs typeface="+mj-cs"/>
              </a:defRPr>
            </a:lvl1pPr>
          </a:lstStyle>
          <a:p>
            <a:r>
              <a:rPr lang="sv-SE" sz="3200" kern="0" dirty="0"/>
              <a:t>Elpriser, </a:t>
            </a:r>
            <a:br>
              <a:rPr lang="sv-SE" sz="3200" kern="0" dirty="0"/>
            </a:br>
            <a:r>
              <a:rPr lang="sv-SE" sz="3200" kern="0" dirty="0" err="1"/>
              <a:t>elområde</a:t>
            </a:r>
            <a:r>
              <a:rPr lang="sv-SE" sz="3200" kern="0" dirty="0"/>
              <a:t> 3</a:t>
            </a:r>
            <a:r>
              <a:rPr lang="sv-SE" kern="0" dirty="0"/>
              <a:t>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63444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8" id="{2910D596-1BDD-C544-BFCC-58A141BD2E2D}" vid="{222F4C48-B1DE-E94C-8753-7F6DC58197CE}"/>
    </a:ext>
  </a:extLst>
</a:theme>
</file>

<file path=ppt/theme/theme2.xml><?xml version="1.0" encoding="utf-8"?>
<a:theme xmlns:a="http://schemas.openxmlformats.org/drawingml/2006/main" name="SvK">
  <a:themeElements>
    <a:clrScheme name="SvK">
      <a:dk1>
        <a:srgbClr val="333333"/>
      </a:dk1>
      <a:lt1>
        <a:srgbClr val="FFFFFF"/>
      </a:lt1>
      <a:dk2>
        <a:srgbClr val="565656"/>
      </a:dk2>
      <a:lt2>
        <a:srgbClr val="959595"/>
      </a:lt2>
      <a:accent1>
        <a:srgbClr val="999999"/>
      </a:accent1>
      <a:accent2>
        <a:srgbClr val="565656"/>
      </a:accent2>
      <a:accent3>
        <a:srgbClr val="C8DAE1"/>
      </a:accent3>
      <a:accent4>
        <a:srgbClr val="1D6684"/>
      </a:accent4>
      <a:accent5>
        <a:srgbClr val="003F55"/>
      </a:accent5>
      <a:accent6>
        <a:srgbClr val="009FD6"/>
      </a:accent6>
      <a:hlink>
        <a:srgbClr val="1D6684"/>
      </a:hlink>
      <a:folHlink>
        <a:srgbClr val="003F55"/>
      </a:folHlink>
    </a:clrScheme>
    <a:fontScheme name="Sv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vK - Bredbild">
  <a:themeElements>
    <a:clrScheme name="SvK">
      <a:dk1>
        <a:srgbClr val="333333"/>
      </a:dk1>
      <a:lt1>
        <a:srgbClr val="FFFFFF"/>
      </a:lt1>
      <a:dk2>
        <a:srgbClr val="565656"/>
      </a:dk2>
      <a:lt2>
        <a:srgbClr val="959595"/>
      </a:lt2>
      <a:accent1>
        <a:srgbClr val="1D599B"/>
      </a:accent1>
      <a:accent2>
        <a:srgbClr val="497633"/>
      </a:accent2>
      <a:accent3>
        <a:srgbClr val="5E256C"/>
      </a:accent3>
      <a:accent4>
        <a:srgbClr val="CA8617"/>
      </a:accent4>
      <a:accent5>
        <a:srgbClr val="B01746"/>
      </a:accent5>
      <a:accent6>
        <a:srgbClr val="363636"/>
      </a:accent6>
      <a:hlink>
        <a:srgbClr val="1D6684"/>
      </a:hlink>
      <a:folHlink>
        <a:srgbClr val="003F55"/>
      </a:folHlink>
    </a:clrScheme>
    <a:fontScheme name="Sv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_Bilder för sammanfattning och citat">
  <a:themeElements>
    <a:clrScheme name="SvK">
      <a:dk1>
        <a:srgbClr val="333333"/>
      </a:dk1>
      <a:lt1>
        <a:srgbClr val="FFFFFF"/>
      </a:lt1>
      <a:dk2>
        <a:srgbClr val="565656"/>
      </a:dk2>
      <a:lt2>
        <a:srgbClr val="959595"/>
      </a:lt2>
      <a:accent1>
        <a:srgbClr val="1D599B"/>
      </a:accent1>
      <a:accent2>
        <a:srgbClr val="497633"/>
      </a:accent2>
      <a:accent3>
        <a:srgbClr val="5E256C"/>
      </a:accent3>
      <a:accent4>
        <a:srgbClr val="CA8617"/>
      </a:accent4>
      <a:accent5>
        <a:srgbClr val="B01746"/>
      </a:accent5>
      <a:accent6>
        <a:srgbClr val="363636"/>
      </a:accent6>
      <a:hlink>
        <a:srgbClr val="1D6684"/>
      </a:hlink>
      <a:folHlink>
        <a:srgbClr val="003F55"/>
      </a:folHlink>
    </a:clrScheme>
    <a:fontScheme name="Sv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-tema</Template>
  <TotalTime>7348</TotalTime>
  <Words>1149</Words>
  <Application>Microsoft Office PowerPoint</Application>
  <PresentationFormat>Bredbild</PresentationFormat>
  <Paragraphs>175</Paragraphs>
  <Slides>34</Slides>
  <Notes>15</Notes>
  <HiddenSlides>0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4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34</vt:i4>
      </vt:variant>
    </vt:vector>
  </HeadingPairs>
  <TitlesOfParts>
    <vt:vector size="45" baseType="lpstr">
      <vt:lpstr>Arial</vt:lpstr>
      <vt:lpstr>Calibri</vt:lpstr>
      <vt:lpstr>Eras Medium ITC</vt:lpstr>
      <vt:lpstr>GillSansStd</vt:lpstr>
      <vt:lpstr>Helvetica</vt:lpstr>
      <vt:lpstr>Times New Roman</vt:lpstr>
      <vt:lpstr>Office-tema</vt:lpstr>
      <vt:lpstr>SvK</vt:lpstr>
      <vt:lpstr>SvK - Bredbild</vt:lpstr>
      <vt:lpstr>4_Bilder för sammanfattning och citat</vt:lpstr>
      <vt:lpstr>think-cell Slide</vt:lpstr>
      <vt:lpstr>Energieffektivisera  och Platta kurvan för el</vt:lpstr>
      <vt:lpstr>EU:s omställning av energisystemet </vt:lpstr>
      <vt:lpstr>Energiintelligent Dalarna</vt:lpstr>
      <vt:lpstr>Energiintelligent Dalarna</vt:lpstr>
      <vt:lpstr>PowerPoint-presentation</vt:lpstr>
      <vt:lpstr>Tillsammans förhindrar vi energikris denna vinter</vt:lpstr>
      <vt:lpstr>Både kWh och kW</vt:lpstr>
      <vt:lpstr>Energimyndighetens kampanj  Varje watt räknas! </vt:lpstr>
      <vt:lpstr>Elanvändning, Sverige </vt:lpstr>
      <vt:lpstr>Elanvändning, Dalarna </vt:lpstr>
      <vt:lpstr>Elanvändning, Dalarna - stor skillnad om mycket fjärrvärme eller inte </vt:lpstr>
      <vt:lpstr>Laddmönster för elbilar har stor betydelse i lokalnäten</vt:lpstr>
      <vt:lpstr>Dalarnas effekttoppar</vt:lpstr>
      <vt:lpstr>Dalarnas mål: 50 MW</vt:lpstr>
      <vt:lpstr>Kampanj:  Platta kurvan  för el</vt:lpstr>
      <vt:lpstr>Kampanj: Platta kurvan för el</vt:lpstr>
      <vt:lpstr>Vinster  Minska den totala energianvändningen och platta kurvan </vt:lpstr>
      <vt:lpstr>Vad kan du göra?</vt:lpstr>
      <vt:lpstr>Få koll</vt:lpstr>
      <vt:lpstr>Energieffektivisera</vt:lpstr>
      <vt:lpstr>PowerPoint-presentation</vt:lpstr>
      <vt:lpstr>Hushålla med effekt</vt:lpstr>
      <vt:lpstr>PowerPoint-presentation</vt:lpstr>
      <vt:lpstr>PowerPoint-presentation</vt:lpstr>
      <vt:lpstr>PowerPoint-presentation</vt:lpstr>
      <vt:lpstr>Exempel storkök</vt:lpstr>
      <vt:lpstr>Exempel storkök</vt:lpstr>
      <vt:lpstr>Exempel storkök</vt:lpstr>
      <vt:lpstr>Exempel storkök</vt:lpstr>
      <vt:lpstr>Exempel storkök</vt:lpstr>
      <vt:lpstr>PowerPoint-presentation</vt:lpstr>
      <vt:lpstr>www.energiintelligent.se/platta-kurvan</vt:lpstr>
      <vt:lpstr>Exempel på åtgärder</vt:lpstr>
      <vt:lpstr>TACK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Emelie Sandén</dc:creator>
  <cp:lastModifiedBy>Ragnarsson Marit</cp:lastModifiedBy>
  <cp:revision>173</cp:revision>
  <cp:lastPrinted>2022-08-31T08:36:22Z</cp:lastPrinted>
  <dcterms:created xsi:type="dcterms:W3CDTF">2021-02-08T06:03:38Z</dcterms:created>
  <dcterms:modified xsi:type="dcterms:W3CDTF">2022-11-17T07:53:08Z</dcterms:modified>
</cp:coreProperties>
</file>